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0"/>
  </p:notesMasterIdLst>
  <p:sldIdLst>
    <p:sldId id="256" r:id="rId2"/>
    <p:sldId id="263" r:id="rId3"/>
    <p:sldId id="260" r:id="rId4"/>
    <p:sldId id="262" r:id="rId5"/>
    <p:sldId id="261" r:id="rId6"/>
    <p:sldId id="264" r:id="rId7"/>
    <p:sldId id="265" r:id="rId8"/>
    <p:sldId id="266" r:id="rId9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50" autoAdjust="0"/>
    <p:restoredTop sz="94660"/>
  </p:normalViewPr>
  <p:slideViewPr>
    <p:cSldViewPr snapToGrid="0" snapToObjects="1">
      <p:cViewPr>
        <p:scale>
          <a:sx n="100" d="100"/>
          <a:sy n="100" d="100"/>
        </p:scale>
        <p:origin x="-480" y="7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A5CD32-4A79-4091-8071-890572FBEA27}" type="doc">
      <dgm:prSet loTypeId="urn:microsoft.com/office/officeart/2005/8/layout/orgChart1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444A7865-8DA2-46A4-8324-3ABA71F1E5C0}">
      <dgm:prSet phldrT="[Texte]"/>
      <dgm:spPr/>
      <dgm:t>
        <a:bodyPr/>
        <a:lstStyle/>
        <a:p>
          <a:r>
            <a:rPr lang="fr-FR" b="1" dirty="0" smtClean="0"/>
            <a:t>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139878E9-A960-4440-B9E0-0921396144D3}" type="parTrans" cxnId="{B0BDDD02-3F9A-4D12-BB21-919464B63773}">
      <dgm:prSet/>
      <dgm:spPr/>
      <dgm:t>
        <a:bodyPr/>
        <a:lstStyle/>
        <a:p>
          <a:endParaRPr lang="fr-FR"/>
        </a:p>
      </dgm:t>
    </dgm:pt>
    <dgm:pt modelId="{695F5E33-DE7D-4E2A-91F1-726426FC442A}" type="sibTrans" cxnId="{B0BDDD02-3F9A-4D12-BB21-919464B63773}">
      <dgm:prSet/>
      <dgm:spPr/>
      <dgm:t>
        <a:bodyPr/>
        <a:lstStyle/>
        <a:p>
          <a:endParaRPr lang="fr-FR"/>
        </a:p>
      </dgm:t>
    </dgm:pt>
    <dgm:pt modelId="{1F5B5F4C-2A61-4C8E-AA2F-3E523473FC25}">
      <dgm:prSet phldrT="[Texte]"/>
      <dgm:spPr/>
      <dgm:t>
        <a:bodyPr/>
        <a:lstStyle/>
        <a:p>
          <a:r>
            <a:rPr lang="fr-FR" b="1" dirty="0" smtClean="0"/>
            <a:t>Gestion de 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R </a:t>
          </a:r>
          <a:r>
            <a:rPr lang="fr-FR" i="1" dirty="0" err="1" smtClean="0"/>
            <a:t>Priem</a:t>
          </a:r>
          <a:endParaRPr lang="fr-FR" i="1" dirty="0"/>
        </a:p>
      </dgm:t>
    </dgm:pt>
    <dgm:pt modelId="{31824548-3084-42AE-8947-6AFD6A8B6457}" type="parTrans" cxnId="{3AA5764A-9811-4E05-A281-549D2119201E}">
      <dgm:prSet/>
      <dgm:spPr/>
      <dgm:t>
        <a:bodyPr/>
        <a:lstStyle/>
        <a:p>
          <a:endParaRPr lang="fr-FR"/>
        </a:p>
      </dgm:t>
    </dgm:pt>
    <dgm:pt modelId="{175D7CA7-0333-4D1B-942F-5A808883012D}" type="sibTrans" cxnId="{3AA5764A-9811-4E05-A281-549D2119201E}">
      <dgm:prSet/>
      <dgm:spPr/>
      <dgm:t>
        <a:bodyPr/>
        <a:lstStyle/>
        <a:p>
          <a:endParaRPr lang="fr-FR"/>
        </a:p>
      </dgm:t>
    </dgm:pt>
    <dgm:pt modelId="{F86DFB38-B4A0-47E6-A165-55987032B721}">
      <dgm:prSet phldrT="[Texte]"/>
      <dgm:spPr/>
      <dgm:t>
        <a:bodyPr/>
        <a:lstStyle/>
        <a:p>
          <a:r>
            <a:rPr lang="fr-FR" b="1" dirty="0" smtClean="0"/>
            <a:t>Gestion du code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91AD438C-9CD2-4781-9C31-4002EC39C794}" type="parTrans" cxnId="{BEE58CCC-32F8-4348-A6B5-022E65652401}">
      <dgm:prSet/>
      <dgm:spPr/>
      <dgm:t>
        <a:bodyPr/>
        <a:lstStyle/>
        <a:p>
          <a:endParaRPr lang="fr-FR"/>
        </a:p>
      </dgm:t>
    </dgm:pt>
    <dgm:pt modelId="{4B0E2ED8-C97F-4668-A29A-044C1560036B}" type="sibTrans" cxnId="{BEE58CCC-32F8-4348-A6B5-022E65652401}">
      <dgm:prSet/>
      <dgm:spPr/>
      <dgm:t>
        <a:bodyPr/>
        <a:lstStyle/>
        <a:p>
          <a:endParaRPr lang="fr-FR"/>
        </a:p>
      </dgm:t>
    </dgm:pt>
    <dgm:pt modelId="{3C5AADB6-72BB-4FCE-84A4-A2EFC5ED9A66}">
      <dgm:prSet phldrT="[Texte]"/>
      <dgm:spPr/>
      <dgm:t>
        <a:bodyPr/>
        <a:lstStyle/>
        <a:p>
          <a:r>
            <a:rPr lang="fr-FR" b="1" dirty="0" smtClean="0"/>
            <a:t>Développement</a:t>
          </a:r>
          <a:br>
            <a:rPr lang="fr-FR" b="1" dirty="0" smtClean="0"/>
          </a:br>
          <a:r>
            <a:rPr lang="fr-FR" i="1" dirty="0" smtClean="0"/>
            <a:t>A Lahbabi</a:t>
          </a:r>
          <a:endParaRPr lang="fr-FR" i="1" dirty="0"/>
        </a:p>
      </dgm:t>
    </dgm:pt>
    <dgm:pt modelId="{2EE7A697-6C9D-4236-8B45-ED7DCE0B6D56}" type="parTrans" cxnId="{9BC66FF1-761A-443A-BB14-7722C1FA0B41}">
      <dgm:prSet/>
      <dgm:spPr/>
      <dgm:t>
        <a:bodyPr/>
        <a:lstStyle/>
        <a:p>
          <a:endParaRPr lang="fr-FR"/>
        </a:p>
      </dgm:t>
    </dgm:pt>
    <dgm:pt modelId="{1C7D34D3-16AB-4AA0-B4F4-8286BE0B1E9B}" type="sibTrans" cxnId="{9BC66FF1-761A-443A-BB14-7722C1FA0B41}">
      <dgm:prSet/>
      <dgm:spPr/>
      <dgm:t>
        <a:bodyPr/>
        <a:lstStyle/>
        <a:p>
          <a:endParaRPr lang="fr-FR"/>
        </a:p>
      </dgm:t>
    </dgm:pt>
    <dgm:pt modelId="{E69345CB-2D4C-4A54-A7B2-F68DE8C8512F}">
      <dgm:prSet phldrT="[Texte]"/>
      <dgm:spPr/>
      <dgm:t>
        <a:bodyPr/>
        <a:lstStyle/>
        <a:p>
          <a:r>
            <a:rPr lang="fr-FR" b="1" dirty="0" smtClean="0"/>
            <a:t>Documentation</a:t>
          </a:r>
          <a:br>
            <a:rPr lang="fr-FR" b="1" dirty="0" smtClean="0"/>
          </a:br>
          <a:r>
            <a:rPr lang="fr-FR" i="1" dirty="0" smtClean="0"/>
            <a:t>Q Jacob</a:t>
          </a:r>
          <a:endParaRPr lang="fr-FR" i="1" dirty="0"/>
        </a:p>
      </dgm:t>
    </dgm:pt>
    <dgm:pt modelId="{5BCE662D-3F66-43A4-8D5A-876E32E84DFF}" type="parTrans" cxnId="{A6AFF279-8FCC-4AC5-839B-E39BE71D73CB}">
      <dgm:prSet/>
      <dgm:spPr/>
      <dgm:t>
        <a:bodyPr/>
        <a:lstStyle/>
        <a:p>
          <a:endParaRPr lang="fr-FR"/>
        </a:p>
      </dgm:t>
    </dgm:pt>
    <dgm:pt modelId="{9F6D9F65-73EE-4140-8DA9-07CAFB96750F}" type="sibTrans" cxnId="{A6AFF279-8FCC-4AC5-839B-E39BE71D73CB}">
      <dgm:prSet/>
      <dgm:spPr/>
      <dgm:t>
        <a:bodyPr/>
        <a:lstStyle/>
        <a:p>
          <a:endParaRPr lang="fr-FR"/>
        </a:p>
      </dgm:t>
    </dgm:pt>
    <dgm:pt modelId="{4E814B0E-06C1-4FB5-BDA2-BF52151B2880}">
      <dgm:prSet phldrT="[Texte]"/>
      <dgm:spPr/>
      <dgm:t>
        <a:bodyPr/>
        <a:lstStyle/>
        <a:p>
          <a:r>
            <a:rPr lang="fr-FR" b="1" dirty="0" smtClean="0"/>
            <a:t>Bibliographie</a:t>
          </a:r>
          <a:br>
            <a:rPr lang="fr-FR" b="1" dirty="0" smtClean="0"/>
          </a:br>
          <a:r>
            <a:rPr lang="fr-FR" i="1" dirty="0" smtClean="0"/>
            <a:t>M Baudry</a:t>
          </a:r>
          <a:endParaRPr lang="fr-FR" i="1" dirty="0"/>
        </a:p>
      </dgm:t>
    </dgm:pt>
    <dgm:pt modelId="{2F658E18-02A2-4F89-8A2A-F872686E2214}" type="parTrans" cxnId="{AC4CF135-3048-44A8-94AB-7913B4E868A9}">
      <dgm:prSet/>
      <dgm:spPr/>
      <dgm:t>
        <a:bodyPr/>
        <a:lstStyle/>
        <a:p>
          <a:endParaRPr lang="fr-FR"/>
        </a:p>
      </dgm:t>
    </dgm:pt>
    <dgm:pt modelId="{F72D1D05-6BF9-427B-928C-81153E7779EB}" type="sibTrans" cxnId="{AC4CF135-3048-44A8-94AB-7913B4E868A9}">
      <dgm:prSet/>
      <dgm:spPr/>
      <dgm:t>
        <a:bodyPr/>
        <a:lstStyle/>
        <a:p>
          <a:endParaRPr lang="fr-FR"/>
        </a:p>
      </dgm:t>
    </dgm:pt>
    <dgm:pt modelId="{77E97F99-610B-4FF3-AF84-BF3FBDF7DCB9}">
      <dgm:prSet phldrT="[Texte]"/>
      <dgm:spPr/>
      <dgm:t>
        <a:bodyPr/>
        <a:lstStyle/>
        <a:p>
          <a:r>
            <a:rPr lang="fr-FR" b="1" dirty="0" smtClean="0"/>
            <a:t>Data </a:t>
          </a:r>
          <a:r>
            <a:rPr lang="fr-FR" b="1" dirty="0" err="1" smtClean="0"/>
            <a:t>processing</a:t>
          </a:r>
          <a:r>
            <a:rPr lang="fr-FR" b="1" dirty="0" smtClean="0"/>
            <a:t> et Visualisation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3D8D2C37-9F05-4B1B-89F8-F5F3B939D6F3}" type="parTrans" cxnId="{A1E419E4-10E2-4A49-AE55-E7A94B6E901E}">
      <dgm:prSet/>
      <dgm:spPr/>
      <dgm:t>
        <a:bodyPr/>
        <a:lstStyle/>
        <a:p>
          <a:endParaRPr lang="fr-FR"/>
        </a:p>
      </dgm:t>
    </dgm:pt>
    <dgm:pt modelId="{F05EDB90-FA14-4C2D-8F32-3867AA789314}" type="sibTrans" cxnId="{A1E419E4-10E2-4A49-AE55-E7A94B6E901E}">
      <dgm:prSet/>
      <dgm:spPr/>
      <dgm:t>
        <a:bodyPr/>
        <a:lstStyle/>
        <a:p>
          <a:endParaRPr lang="fr-FR"/>
        </a:p>
      </dgm:t>
    </dgm:pt>
    <dgm:pt modelId="{E58FD225-27B6-4530-88EC-69A162B8E7CA}">
      <dgm:prSet phldrT="[Texte]"/>
      <dgm:spPr/>
      <dgm:t>
        <a:bodyPr/>
        <a:lstStyle/>
        <a:p>
          <a:r>
            <a:rPr lang="fr-FR" b="1" dirty="0" smtClean="0"/>
            <a:t>Détection</a:t>
          </a:r>
          <a:br>
            <a:rPr lang="fr-FR" b="1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79B4A344-E1CF-4867-97F1-322B52E1FFC2}" type="parTrans" cxnId="{D3227033-85EE-4F11-B0F9-6FDA742C4B09}">
      <dgm:prSet/>
      <dgm:spPr/>
      <dgm:t>
        <a:bodyPr/>
        <a:lstStyle/>
        <a:p>
          <a:endParaRPr lang="fr-FR"/>
        </a:p>
      </dgm:t>
    </dgm:pt>
    <dgm:pt modelId="{B45ADEDD-F246-4521-A8FC-82D0FC4E2329}" type="sibTrans" cxnId="{D3227033-85EE-4F11-B0F9-6FDA742C4B09}">
      <dgm:prSet/>
      <dgm:spPr/>
      <dgm:t>
        <a:bodyPr/>
        <a:lstStyle/>
        <a:p>
          <a:endParaRPr lang="fr-FR"/>
        </a:p>
      </dgm:t>
    </dgm:pt>
    <dgm:pt modelId="{885195E8-D7BE-4C06-B501-ACDA1C730D7F}" type="pres">
      <dgm:prSet presAssocID="{6FA5CD32-4A79-4091-8071-890572FBEA2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B0D074E7-6886-4A83-911A-A3AFCF6758D3}" type="pres">
      <dgm:prSet presAssocID="{444A7865-8DA2-46A4-8324-3ABA71F1E5C0}" presName="hierRoot1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66FBED4-7FDD-440D-95A5-D3D48C2EAF28}" type="pres">
      <dgm:prSet presAssocID="{444A7865-8DA2-46A4-8324-3ABA71F1E5C0}" presName="rootComposite1" presStyleCnt="0"/>
      <dgm:spPr/>
      <dgm:t>
        <a:bodyPr/>
        <a:lstStyle/>
        <a:p>
          <a:endParaRPr lang="fr-FR"/>
        </a:p>
      </dgm:t>
    </dgm:pt>
    <dgm:pt modelId="{142E4259-686A-4F6E-A219-029C8B6F888E}" type="pres">
      <dgm:prSet presAssocID="{444A7865-8DA2-46A4-8324-3ABA71F1E5C0}" presName="rootText1" presStyleLbl="node0" presStyleIdx="0" presStyleCnt="1" custLinFactNeighborX="-10631" custLinFactNeighborY="11597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9C7DC0B-EB79-41C2-9509-25B5029BE08A}" type="pres">
      <dgm:prSet presAssocID="{444A7865-8DA2-46A4-8324-3ABA71F1E5C0}" presName="rootConnector1" presStyleLbl="node1" presStyleIdx="0" presStyleCnt="0"/>
      <dgm:spPr/>
      <dgm:t>
        <a:bodyPr/>
        <a:lstStyle/>
        <a:p>
          <a:endParaRPr lang="fr-FR"/>
        </a:p>
      </dgm:t>
    </dgm:pt>
    <dgm:pt modelId="{7BC8522E-4DA1-48AD-B010-5EBB64D881BB}" type="pres">
      <dgm:prSet presAssocID="{444A7865-8DA2-46A4-8324-3ABA71F1E5C0}" presName="hierChild2" presStyleCnt="0"/>
      <dgm:spPr/>
      <dgm:t>
        <a:bodyPr/>
        <a:lstStyle/>
        <a:p>
          <a:endParaRPr lang="fr-FR"/>
        </a:p>
      </dgm:t>
    </dgm:pt>
    <dgm:pt modelId="{5CE76936-2952-45DD-BF81-8434AF5AE1AF}" type="pres">
      <dgm:prSet presAssocID="{31824548-3084-42AE-8947-6AFD6A8B6457}" presName="Name37" presStyleLbl="parChTrans1D2" presStyleIdx="0" presStyleCnt="5"/>
      <dgm:spPr/>
      <dgm:t>
        <a:bodyPr/>
        <a:lstStyle/>
        <a:p>
          <a:endParaRPr lang="fr-FR"/>
        </a:p>
      </dgm:t>
    </dgm:pt>
    <dgm:pt modelId="{AD37CA63-15B8-4CBC-B774-73AABC193BDE}" type="pres">
      <dgm:prSet presAssocID="{1F5B5F4C-2A61-4C8E-AA2F-3E523473FC25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E05BD40-E9B2-47C1-AA79-D62D98175D76}" type="pres">
      <dgm:prSet presAssocID="{1F5B5F4C-2A61-4C8E-AA2F-3E523473FC25}" presName="rootComposite" presStyleCnt="0"/>
      <dgm:spPr/>
      <dgm:t>
        <a:bodyPr/>
        <a:lstStyle/>
        <a:p>
          <a:endParaRPr lang="fr-FR"/>
        </a:p>
      </dgm:t>
    </dgm:pt>
    <dgm:pt modelId="{50994B2A-6327-45E8-A907-3E8A4BE823D3}" type="pres">
      <dgm:prSet presAssocID="{1F5B5F4C-2A61-4C8E-AA2F-3E523473FC25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5350851E-05CE-476E-B520-C9DDB56B135D}" type="pres">
      <dgm:prSet presAssocID="{1F5B5F4C-2A61-4C8E-AA2F-3E523473FC25}" presName="rootConnector" presStyleLbl="node2" presStyleIdx="0" presStyleCnt="5"/>
      <dgm:spPr/>
      <dgm:t>
        <a:bodyPr/>
        <a:lstStyle/>
        <a:p>
          <a:endParaRPr lang="fr-FR"/>
        </a:p>
      </dgm:t>
    </dgm:pt>
    <dgm:pt modelId="{A552EA70-C51C-492C-B9D7-17383A9E95A3}" type="pres">
      <dgm:prSet presAssocID="{1F5B5F4C-2A61-4C8E-AA2F-3E523473FC25}" presName="hierChild4" presStyleCnt="0"/>
      <dgm:spPr/>
      <dgm:t>
        <a:bodyPr/>
        <a:lstStyle/>
        <a:p>
          <a:endParaRPr lang="fr-FR"/>
        </a:p>
      </dgm:t>
    </dgm:pt>
    <dgm:pt modelId="{65C795A2-699A-4D6C-865C-7C1F848006AF}" type="pres">
      <dgm:prSet presAssocID="{1F5B5F4C-2A61-4C8E-AA2F-3E523473FC25}" presName="hierChild5" presStyleCnt="0"/>
      <dgm:spPr/>
      <dgm:t>
        <a:bodyPr/>
        <a:lstStyle/>
        <a:p>
          <a:endParaRPr lang="fr-FR"/>
        </a:p>
      </dgm:t>
    </dgm:pt>
    <dgm:pt modelId="{65ABF144-4469-4CFA-9D31-BDC6EF2428C8}" type="pres">
      <dgm:prSet presAssocID="{91AD438C-9CD2-4781-9C31-4002EC39C794}" presName="Name37" presStyleLbl="parChTrans1D2" presStyleIdx="1" presStyleCnt="5"/>
      <dgm:spPr/>
      <dgm:t>
        <a:bodyPr/>
        <a:lstStyle/>
        <a:p>
          <a:endParaRPr lang="fr-FR"/>
        </a:p>
      </dgm:t>
    </dgm:pt>
    <dgm:pt modelId="{2B5A0BE4-572B-4E71-B358-C98DABF01C47}" type="pres">
      <dgm:prSet presAssocID="{F86DFB38-B4A0-47E6-A165-55987032B721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559FAFB8-DF5A-4DAF-AB39-106925F00B46}" type="pres">
      <dgm:prSet presAssocID="{F86DFB38-B4A0-47E6-A165-55987032B721}" presName="rootComposite" presStyleCnt="0"/>
      <dgm:spPr/>
      <dgm:t>
        <a:bodyPr/>
        <a:lstStyle/>
        <a:p>
          <a:endParaRPr lang="fr-FR"/>
        </a:p>
      </dgm:t>
    </dgm:pt>
    <dgm:pt modelId="{DA1E827D-3458-44BD-85F2-32F0A448792F}" type="pres">
      <dgm:prSet presAssocID="{F86DFB38-B4A0-47E6-A165-55987032B721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0B7990E-2B79-46E9-8E0A-FB178376C3E1}" type="pres">
      <dgm:prSet presAssocID="{F86DFB38-B4A0-47E6-A165-55987032B721}" presName="rootConnector" presStyleLbl="node2" presStyleIdx="1" presStyleCnt="5"/>
      <dgm:spPr/>
      <dgm:t>
        <a:bodyPr/>
        <a:lstStyle/>
        <a:p>
          <a:endParaRPr lang="fr-FR"/>
        </a:p>
      </dgm:t>
    </dgm:pt>
    <dgm:pt modelId="{FC9A854A-DCB0-4A68-8FF2-B85A15FC7BA3}" type="pres">
      <dgm:prSet presAssocID="{F86DFB38-B4A0-47E6-A165-55987032B721}" presName="hierChild4" presStyleCnt="0"/>
      <dgm:spPr/>
      <dgm:t>
        <a:bodyPr/>
        <a:lstStyle/>
        <a:p>
          <a:endParaRPr lang="fr-FR"/>
        </a:p>
      </dgm:t>
    </dgm:pt>
    <dgm:pt modelId="{94889143-F553-4FBC-867A-C5BE446D1B2D}" type="pres">
      <dgm:prSet presAssocID="{F86DFB38-B4A0-47E6-A165-55987032B721}" presName="hierChild5" presStyleCnt="0"/>
      <dgm:spPr/>
      <dgm:t>
        <a:bodyPr/>
        <a:lstStyle/>
        <a:p>
          <a:endParaRPr lang="fr-FR"/>
        </a:p>
      </dgm:t>
    </dgm:pt>
    <dgm:pt modelId="{0E609146-01DB-4401-826D-E1527AC39B3D}" type="pres">
      <dgm:prSet presAssocID="{2EE7A697-6C9D-4236-8B45-ED7DCE0B6D56}" presName="Name37" presStyleLbl="parChTrans1D2" presStyleIdx="2" presStyleCnt="5"/>
      <dgm:spPr/>
      <dgm:t>
        <a:bodyPr/>
        <a:lstStyle/>
        <a:p>
          <a:endParaRPr lang="fr-FR"/>
        </a:p>
      </dgm:t>
    </dgm:pt>
    <dgm:pt modelId="{04E14119-32BF-4028-BD8F-425B1DC1D56E}" type="pres">
      <dgm:prSet presAssocID="{3C5AADB6-72BB-4FCE-84A4-A2EFC5ED9A66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A8029F9-5C6A-45EA-8027-31F08C035A18}" type="pres">
      <dgm:prSet presAssocID="{3C5AADB6-72BB-4FCE-84A4-A2EFC5ED9A66}" presName="rootComposite" presStyleCnt="0"/>
      <dgm:spPr/>
      <dgm:t>
        <a:bodyPr/>
        <a:lstStyle/>
        <a:p>
          <a:endParaRPr lang="fr-FR"/>
        </a:p>
      </dgm:t>
    </dgm:pt>
    <dgm:pt modelId="{20BCCF02-4BAD-41B3-829B-DB375D141B00}" type="pres">
      <dgm:prSet presAssocID="{3C5AADB6-72BB-4FCE-84A4-A2EFC5ED9A66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AB1FBD8-81E5-42B4-952B-9562DD11E12B}" type="pres">
      <dgm:prSet presAssocID="{3C5AADB6-72BB-4FCE-84A4-A2EFC5ED9A66}" presName="rootConnector" presStyleLbl="node2" presStyleIdx="2" presStyleCnt="5"/>
      <dgm:spPr/>
      <dgm:t>
        <a:bodyPr/>
        <a:lstStyle/>
        <a:p>
          <a:endParaRPr lang="fr-FR"/>
        </a:p>
      </dgm:t>
    </dgm:pt>
    <dgm:pt modelId="{D4333740-B68A-4EFF-8DFE-CA27C2AE99D5}" type="pres">
      <dgm:prSet presAssocID="{3C5AADB6-72BB-4FCE-84A4-A2EFC5ED9A66}" presName="hierChild4" presStyleCnt="0"/>
      <dgm:spPr/>
      <dgm:t>
        <a:bodyPr/>
        <a:lstStyle/>
        <a:p>
          <a:endParaRPr lang="fr-FR"/>
        </a:p>
      </dgm:t>
    </dgm:pt>
    <dgm:pt modelId="{5DD28620-819E-4364-8540-F8248FFAD403}" type="pres">
      <dgm:prSet presAssocID="{3D8D2C37-9F05-4B1B-89F8-F5F3B939D6F3}" presName="Name37" presStyleLbl="parChTrans1D3" presStyleIdx="0" presStyleCnt="2"/>
      <dgm:spPr/>
      <dgm:t>
        <a:bodyPr/>
        <a:lstStyle/>
        <a:p>
          <a:endParaRPr lang="fr-FR"/>
        </a:p>
      </dgm:t>
    </dgm:pt>
    <dgm:pt modelId="{E5E45530-8F8F-4626-A22D-2F5CFCDD7900}" type="pres">
      <dgm:prSet presAssocID="{77E97F99-610B-4FF3-AF84-BF3FBDF7DCB9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C24B3544-7FF8-4FCD-A4BF-31D02603B85B}" type="pres">
      <dgm:prSet presAssocID="{77E97F99-610B-4FF3-AF84-BF3FBDF7DCB9}" presName="rootComposite" presStyleCnt="0"/>
      <dgm:spPr/>
      <dgm:t>
        <a:bodyPr/>
        <a:lstStyle/>
        <a:p>
          <a:endParaRPr lang="fr-FR"/>
        </a:p>
      </dgm:t>
    </dgm:pt>
    <dgm:pt modelId="{2AA623D5-E069-4AA1-9CE4-E8307F243054}" type="pres">
      <dgm:prSet presAssocID="{77E97F99-610B-4FF3-AF84-BF3FBDF7DCB9}" presName="rootText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11F80D57-6E64-42BF-9311-55E37177781B}" type="pres">
      <dgm:prSet presAssocID="{77E97F99-610B-4FF3-AF84-BF3FBDF7DCB9}" presName="rootConnector" presStyleLbl="node3" presStyleIdx="0" presStyleCnt="2"/>
      <dgm:spPr/>
      <dgm:t>
        <a:bodyPr/>
        <a:lstStyle/>
        <a:p>
          <a:endParaRPr lang="fr-FR"/>
        </a:p>
      </dgm:t>
    </dgm:pt>
    <dgm:pt modelId="{57A4CD66-3EFF-423F-9BB2-3E6D51AE361C}" type="pres">
      <dgm:prSet presAssocID="{77E97F99-610B-4FF3-AF84-BF3FBDF7DCB9}" presName="hierChild4" presStyleCnt="0"/>
      <dgm:spPr/>
      <dgm:t>
        <a:bodyPr/>
        <a:lstStyle/>
        <a:p>
          <a:endParaRPr lang="fr-FR"/>
        </a:p>
      </dgm:t>
    </dgm:pt>
    <dgm:pt modelId="{16A2745B-CC6C-4C16-8793-E55885878BB3}" type="pres">
      <dgm:prSet presAssocID="{77E97F99-610B-4FF3-AF84-BF3FBDF7DCB9}" presName="hierChild5" presStyleCnt="0"/>
      <dgm:spPr/>
      <dgm:t>
        <a:bodyPr/>
        <a:lstStyle/>
        <a:p>
          <a:endParaRPr lang="fr-FR"/>
        </a:p>
      </dgm:t>
    </dgm:pt>
    <dgm:pt modelId="{85CA1EC7-2A0B-4C9C-A6D0-43E4D3D4DF48}" type="pres">
      <dgm:prSet presAssocID="{79B4A344-E1CF-4867-97F1-322B52E1FFC2}" presName="Name37" presStyleLbl="parChTrans1D3" presStyleIdx="1" presStyleCnt="2"/>
      <dgm:spPr/>
      <dgm:t>
        <a:bodyPr/>
        <a:lstStyle/>
        <a:p>
          <a:endParaRPr lang="fr-FR"/>
        </a:p>
      </dgm:t>
    </dgm:pt>
    <dgm:pt modelId="{8D363481-9BAC-433B-881D-40F67F2D570C}" type="pres">
      <dgm:prSet presAssocID="{E58FD225-27B6-4530-88EC-69A162B8E7CA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170BE6AA-A261-4B22-9F13-A66856F3E588}" type="pres">
      <dgm:prSet presAssocID="{E58FD225-27B6-4530-88EC-69A162B8E7CA}" presName="rootComposite" presStyleCnt="0"/>
      <dgm:spPr/>
      <dgm:t>
        <a:bodyPr/>
        <a:lstStyle/>
        <a:p>
          <a:endParaRPr lang="fr-FR"/>
        </a:p>
      </dgm:t>
    </dgm:pt>
    <dgm:pt modelId="{DD550BCD-075D-487A-8A3B-513DFEC98545}" type="pres">
      <dgm:prSet presAssocID="{E58FD225-27B6-4530-88EC-69A162B8E7CA}" presName="rootText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2A870FC7-9815-4440-BB75-F2F4074787D6}" type="pres">
      <dgm:prSet presAssocID="{E58FD225-27B6-4530-88EC-69A162B8E7CA}" presName="rootConnector" presStyleLbl="node3" presStyleIdx="1" presStyleCnt="2"/>
      <dgm:spPr/>
      <dgm:t>
        <a:bodyPr/>
        <a:lstStyle/>
        <a:p>
          <a:endParaRPr lang="fr-FR"/>
        </a:p>
      </dgm:t>
    </dgm:pt>
    <dgm:pt modelId="{2D23421F-0FE7-45C3-80AF-C3BF2449FE5B}" type="pres">
      <dgm:prSet presAssocID="{E58FD225-27B6-4530-88EC-69A162B8E7CA}" presName="hierChild4" presStyleCnt="0"/>
      <dgm:spPr/>
      <dgm:t>
        <a:bodyPr/>
        <a:lstStyle/>
        <a:p>
          <a:endParaRPr lang="fr-FR"/>
        </a:p>
      </dgm:t>
    </dgm:pt>
    <dgm:pt modelId="{9AF6A57B-75AB-408A-BBC4-ADD83E5EA002}" type="pres">
      <dgm:prSet presAssocID="{E58FD225-27B6-4530-88EC-69A162B8E7CA}" presName="hierChild5" presStyleCnt="0"/>
      <dgm:spPr/>
      <dgm:t>
        <a:bodyPr/>
        <a:lstStyle/>
        <a:p>
          <a:endParaRPr lang="fr-FR"/>
        </a:p>
      </dgm:t>
    </dgm:pt>
    <dgm:pt modelId="{84A3A0D5-746A-444A-BC4D-AAD2E43F175B}" type="pres">
      <dgm:prSet presAssocID="{3C5AADB6-72BB-4FCE-84A4-A2EFC5ED9A66}" presName="hierChild5" presStyleCnt="0"/>
      <dgm:spPr/>
      <dgm:t>
        <a:bodyPr/>
        <a:lstStyle/>
        <a:p>
          <a:endParaRPr lang="fr-FR"/>
        </a:p>
      </dgm:t>
    </dgm:pt>
    <dgm:pt modelId="{2E9C63D6-6A86-42E0-8B71-02AB78161BC0}" type="pres">
      <dgm:prSet presAssocID="{5BCE662D-3F66-43A4-8D5A-876E32E84DFF}" presName="Name37" presStyleLbl="parChTrans1D2" presStyleIdx="3" presStyleCnt="5"/>
      <dgm:spPr/>
      <dgm:t>
        <a:bodyPr/>
        <a:lstStyle/>
        <a:p>
          <a:endParaRPr lang="fr-FR"/>
        </a:p>
      </dgm:t>
    </dgm:pt>
    <dgm:pt modelId="{B438EC90-B184-48F5-B20D-A3F21E661ECC}" type="pres">
      <dgm:prSet presAssocID="{E69345CB-2D4C-4A54-A7B2-F68DE8C8512F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92F1712-0E99-49D5-8C38-452D9736EE48}" type="pres">
      <dgm:prSet presAssocID="{E69345CB-2D4C-4A54-A7B2-F68DE8C8512F}" presName="rootComposite" presStyleCnt="0"/>
      <dgm:spPr/>
      <dgm:t>
        <a:bodyPr/>
        <a:lstStyle/>
        <a:p>
          <a:endParaRPr lang="fr-FR"/>
        </a:p>
      </dgm:t>
    </dgm:pt>
    <dgm:pt modelId="{A4F4E0B4-F627-4218-A48C-AA7EE86E206D}" type="pres">
      <dgm:prSet presAssocID="{E69345CB-2D4C-4A54-A7B2-F68DE8C8512F}" presName="rootText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D5C4B59C-8096-4D28-A9A8-31CE1E6C414E}" type="pres">
      <dgm:prSet presAssocID="{E69345CB-2D4C-4A54-A7B2-F68DE8C8512F}" presName="rootConnector" presStyleLbl="node2" presStyleIdx="3" presStyleCnt="5"/>
      <dgm:spPr/>
      <dgm:t>
        <a:bodyPr/>
        <a:lstStyle/>
        <a:p>
          <a:endParaRPr lang="fr-FR"/>
        </a:p>
      </dgm:t>
    </dgm:pt>
    <dgm:pt modelId="{A7641047-C9FB-487D-B70E-E7CCE365AC72}" type="pres">
      <dgm:prSet presAssocID="{E69345CB-2D4C-4A54-A7B2-F68DE8C8512F}" presName="hierChild4" presStyleCnt="0"/>
      <dgm:spPr/>
      <dgm:t>
        <a:bodyPr/>
        <a:lstStyle/>
        <a:p>
          <a:endParaRPr lang="fr-FR"/>
        </a:p>
      </dgm:t>
    </dgm:pt>
    <dgm:pt modelId="{6563043A-00BB-4D1E-BAB8-629BC5D86B64}" type="pres">
      <dgm:prSet presAssocID="{E69345CB-2D4C-4A54-A7B2-F68DE8C8512F}" presName="hierChild5" presStyleCnt="0"/>
      <dgm:spPr/>
      <dgm:t>
        <a:bodyPr/>
        <a:lstStyle/>
        <a:p>
          <a:endParaRPr lang="fr-FR"/>
        </a:p>
      </dgm:t>
    </dgm:pt>
    <dgm:pt modelId="{9561B7A6-469D-4222-9FEE-C90F3D1D61A0}" type="pres">
      <dgm:prSet presAssocID="{2F658E18-02A2-4F89-8A2A-F872686E2214}" presName="Name37" presStyleLbl="parChTrans1D2" presStyleIdx="4" presStyleCnt="5"/>
      <dgm:spPr/>
      <dgm:t>
        <a:bodyPr/>
        <a:lstStyle/>
        <a:p>
          <a:endParaRPr lang="fr-FR"/>
        </a:p>
      </dgm:t>
    </dgm:pt>
    <dgm:pt modelId="{C2CAB329-F42B-4EA0-91E5-5F94A13874CD}" type="pres">
      <dgm:prSet presAssocID="{4E814B0E-06C1-4FB5-BDA2-BF52151B2880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0B977959-A639-4177-8032-58A95BF3E073}" type="pres">
      <dgm:prSet presAssocID="{4E814B0E-06C1-4FB5-BDA2-BF52151B2880}" presName="rootComposite" presStyleCnt="0"/>
      <dgm:spPr/>
      <dgm:t>
        <a:bodyPr/>
        <a:lstStyle/>
        <a:p>
          <a:endParaRPr lang="fr-FR"/>
        </a:p>
      </dgm:t>
    </dgm:pt>
    <dgm:pt modelId="{1064CE66-84C8-4ABF-A219-6CE3DC0326BF}" type="pres">
      <dgm:prSet presAssocID="{4E814B0E-06C1-4FB5-BDA2-BF52151B2880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B240C91F-EED5-404A-86EF-39AEBCF75CBB}" type="pres">
      <dgm:prSet presAssocID="{4E814B0E-06C1-4FB5-BDA2-BF52151B2880}" presName="rootConnector" presStyleLbl="node2" presStyleIdx="4" presStyleCnt="5"/>
      <dgm:spPr/>
      <dgm:t>
        <a:bodyPr/>
        <a:lstStyle/>
        <a:p>
          <a:endParaRPr lang="fr-FR"/>
        </a:p>
      </dgm:t>
    </dgm:pt>
    <dgm:pt modelId="{EBCE58E7-007D-4F95-9533-D0181CDA7511}" type="pres">
      <dgm:prSet presAssocID="{4E814B0E-06C1-4FB5-BDA2-BF52151B2880}" presName="hierChild4" presStyleCnt="0"/>
      <dgm:spPr/>
      <dgm:t>
        <a:bodyPr/>
        <a:lstStyle/>
        <a:p>
          <a:endParaRPr lang="fr-FR"/>
        </a:p>
      </dgm:t>
    </dgm:pt>
    <dgm:pt modelId="{888A2193-101D-44A9-9A57-8ECF60EA2925}" type="pres">
      <dgm:prSet presAssocID="{4E814B0E-06C1-4FB5-BDA2-BF52151B2880}" presName="hierChild5" presStyleCnt="0"/>
      <dgm:spPr/>
      <dgm:t>
        <a:bodyPr/>
        <a:lstStyle/>
        <a:p>
          <a:endParaRPr lang="fr-FR"/>
        </a:p>
      </dgm:t>
    </dgm:pt>
    <dgm:pt modelId="{B544B614-EF9B-47E0-8D19-2AEE22CE23E4}" type="pres">
      <dgm:prSet presAssocID="{444A7865-8DA2-46A4-8324-3ABA71F1E5C0}" presName="hierChild3" presStyleCnt="0"/>
      <dgm:spPr/>
      <dgm:t>
        <a:bodyPr/>
        <a:lstStyle/>
        <a:p>
          <a:endParaRPr lang="fr-FR"/>
        </a:p>
      </dgm:t>
    </dgm:pt>
  </dgm:ptLst>
  <dgm:cxnLst>
    <dgm:cxn modelId="{A1E419E4-10E2-4A49-AE55-E7A94B6E901E}" srcId="{3C5AADB6-72BB-4FCE-84A4-A2EFC5ED9A66}" destId="{77E97F99-610B-4FF3-AF84-BF3FBDF7DCB9}" srcOrd="0" destOrd="0" parTransId="{3D8D2C37-9F05-4B1B-89F8-F5F3B939D6F3}" sibTransId="{F05EDB90-FA14-4C2D-8F32-3867AA789314}"/>
    <dgm:cxn modelId="{4645E380-A2B7-43F1-A4C2-377C453D99C2}" type="presOf" srcId="{77E97F99-610B-4FF3-AF84-BF3FBDF7DCB9}" destId="{2AA623D5-E069-4AA1-9CE4-E8307F243054}" srcOrd="0" destOrd="0" presId="urn:microsoft.com/office/officeart/2005/8/layout/orgChart1"/>
    <dgm:cxn modelId="{E92DF2F3-924D-48F0-A426-5A06A43E0F5F}" type="presOf" srcId="{E69345CB-2D4C-4A54-A7B2-F68DE8C8512F}" destId="{D5C4B59C-8096-4D28-A9A8-31CE1E6C414E}" srcOrd="1" destOrd="0" presId="urn:microsoft.com/office/officeart/2005/8/layout/orgChart1"/>
    <dgm:cxn modelId="{E8A4402C-7FCB-4529-BE9A-363A3DDC1673}" type="presOf" srcId="{2F658E18-02A2-4F89-8A2A-F872686E2214}" destId="{9561B7A6-469D-4222-9FEE-C90F3D1D61A0}" srcOrd="0" destOrd="0" presId="urn:microsoft.com/office/officeart/2005/8/layout/orgChart1"/>
    <dgm:cxn modelId="{B7E0037D-28BB-4158-8E9D-F499F93619CD}" type="presOf" srcId="{E58FD225-27B6-4530-88EC-69A162B8E7CA}" destId="{DD550BCD-075D-487A-8A3B-513DFEC98545}" srcOrd="0" destOrd="0" presId="urn:microsoft.com/office/officeart/2005/8/layout/orgChart1"/>
    <dgm:cxn modelId="{292BCA33-8EA8-4DDF-A755-E75220EFA3DA}" type="presOf" srcId="{E58FD225-27B6-4530-88EC-69A162B8E7CA}" destId="{2A870FC7-9815-4440-BB75-F2F4074787D6}" srcOrd="1" destOrd="0" presId="urn:microsoft.com/office/officeart/2005/8/layout/orgChart1"/>
    <dgm:cxn modelId="{A6AFF279-8FCC-4AC5-839B-E39BE71D73CB}" srcId="{444A7865-8DA2-46A4-8324-3ABA71F1E5C0}" destId="{E69345CB-2D4C-4A54-A7B2-F68DE8C8512F}" srcOrd="3" destOrd="0" parTransId="{5BCE662D-3F66-43A4-8D5A-876E32E84DFF}" sibTransId="{9F6D9F65-73EE-4140-8DA9-07CAFB96750F}"/>
    <dgm:cxn modelId="{53F8166D-997A-4D90-BAF0-60199EA899C0}" type="presOf" srcId="{F86DFB38-B4A0-47E6-A165-55987032B721}" destId="{E0B7990E-2B79-46E9-8E0A-FB178376C3E1}" srcOrd="1" destOrd="0" presId="urn:microsoft.com/office/officeart/2005/8/layout/orgChart1"/>
    <dgm:cxn modelId="{28F937C1-9492-45BE-B984-5FE3BC308645}" type="presOf" srcId="{1F5B5F4C-2A61-4C8E-AA2F-3E523473FC25}" destId="{50994B2A-6327-45E8-A907-3E8A4BE823D3}" srcOrd="0" destOrd="0" presId="urn:microsoft.com/office/officeart/2005/8/layout/orgChart1"/>
    <dgm:cxn modelId="{B0BDDD02-3F9A-4D12-BB21-919464B63773}" srcId="{6FA5CD32-4A79-4091-8071-890572FBEA27}" destId="{444A7865-8DA2-46A4-8324-3ABA71F1E5C0}" srcOrd="0" destOrd="0" parTransId="{139878E9-A960-4440-B9E0-0921396144D3}" sibTransId="{695F5E33-DE7D-4E2A-91F1-726426FC442A}"/>
    <dgm:cxn modelId="{D3227033-85EE-4F11-B0F9-6FDA742C4B09}" srcId="{3C5AADB6-72BB-4FCE-84A4-A2EFC5ED9A66}" destId="{E58FD225-27B6-4530-88EC-69A162B8E7CA}" srcOrd="1" destOrd="0" parTransId="{79B4A344-E1CF-4867-97F1-322B52E1FFC2}" sibTransId="{B45ADEDD-F246-4521-A8FC-82D0FC4E2329}"/>
    <dgm:cxn modelId="{06322702-26D7-4D14-8CF4-E8018BA11718}" type="presOf" srcId="{6FA5CD32-4A79-4091-8071-890572FBEA27}" destId="{885195E8-D7BE-4C06-B501-ACDA1C730D7F}" srcOrd="0" destOrd="0" presId="urn:microsoft.com/office/officeart/2005/8/layout/orgChart1"/>
    <dgm:cxn modelId="{3AA5764A-9811-4E05-A281-549D2119201E}" srcId="{444A7865-8DA2-46A4-8324-3ABA71F1E5C0}" destId="{1F5B5F4C-2A61-4C8E-AA2F-3E523473FC25}" srcOrd="0" destOrd="0" parTransId="{31824548-3084-42AE-8947-6AFD6A8B6457}" sibTransId="{175D7CA7-0333-4D1B-942F-5A808883012D}"/>
    <dgm:cxn modelId="{9BC66FF1-761A-443A-BB14-7722C1FA0B41}" srcId="{444A7865-8DA2-46A4-8324-3ABA71F1E5C0}" destId="{3C5AADB6-72BB-4FCE-84A4-A2EFC5ED9A66}" srcOrd="2" destOrd="0" parTransId="{2EE7A697-6C9D-4236-8B45-ED7DCE0B6D56}" sibTransId="{1C7D34D3-16AB-4AA0-B4F4-8286BE0B1E9B}"/>
    <dgm:cxn modelId="{3AA8B665-85C0-4368-81DB-9D8922127850}" type="presOf" srcId="{91AD438C-9CD2-4781-9C31-4002EC39C794}" destId="{65ABF144-4469-4CFA-9D31-BDC6EF2428C8}" srcOrd="0" destOrd="0" presId="urn:microsoft.com/office/officeart/2005/8/layout/orgChart1"/>
    <dgm:cxn modelId="{8232A5B6-A313-4133-B419-456D80E3402E}" type="presOf" srcId="{4E814B0E-06C1-4FB5-BDA2-BF52151B2880}" destId="{B240C91F-EED5-404A-86EF-39AEBCF75CBB}" srcOrd="1" destOrd="0" presId="urn:microsoft.com/office/officeart/2005/8/layout/orgChart1"/>
    <dgm:cxn modelId="{DB74BF49-1EE9-463D-B916-84044B2C096D}" type="presOf" srcId="{1F5B5F4C-2A61-4C8E-AA2F-3E523473FC25}" destId="{5350851E-05CE-476E-B520-C9DDB56B135D}" srcOrd="1" destOrd="0" presId="urn:microsoft.com/office/officeart/2005/8/layout/orgChart1"/>
    <dgm:cxn modelId="{CB771BF7-53B4-4A53-8780-2B3DFFDCA828}" type="presOf" srcId="{3C5AADB6-72BB-4FCE-84A4-A2EFC5ED9A66}" destId="{CAB1FBD8-81E5-42B4-952B-9562DD11E12B}" srcOrd="1" destOrd="0" presId="urn:microsoft.com/office/officeart/2005/8/layout/orgChart1"/>
    <dgm:cxn modelId="{D9B6CD1D-B723-43CA-AA27-67D7AB981200}" type="presOf" srcId="{3C5AADB6-72BB-4FCE-84A4-A2EFC5ED9A66}" destId="{20BCCF02-4BAD-41B3-829B-DB375D141B00}" srcOrd="0" destOrd="0" presId="urn:microsoft.com/office/officeart/2005/8/layout/orgChart1"/>
    <dgm:cxn modelId="{E062D261-EC89-4771-82DB-458BAD74CB95}" type="presOf" srcId="{2EE7A697-6C9D-4236-8B45-ED7DCE0B6D56}" destId="{0E609146-01DB-4401-826D-E1527AC39B3D}" srcOrd="0" destOrd="0" presId="urn:microsoft.com/office/officeart/2005/8/layout/orgChart1"/>
    <dgm:cxn modelId="{0214DB04-1C29-4441-BDB3-CA828AE6F895}" type="presOf" srcId="{F86DFB38-B4A0-47E6-A165-55987032B721}" destId="{DA1E827D-3458-44BD-85F2-32F0A448792F}" srcOrd="0" destOrd="0" presId="urn:microsoft.com/office/officeart/2005/8/layout/orgChart1"/>
    <dgm:cxn modelId="{AC4CF135-3048-44A8-94AB-7913B4E868A9}" srcId="{444A7865-8DA2-46A4-8324-3ABA71F1E5C0}" destId="{4E814B0E-06C1-4FB5-BDA2-BF52151B2880}" srcOrd="4" destOrd="0" parTransId="{2F658E18-02A2-4F89-8A2A-F872686E2214}" sibTransId="{F72D1D05-6BF9-427B-928C-81153E7779EB}"/>
    <dgm:cxn modelId="{BEE58CCC-32F8-4348-A6B5-022E65652401}" srcId="{444A7865-8DA2-46A4-8324-3ABA71F1E5C0}" destId="{F86DFB38-B4A0-47E6-A165-55987032B721}" srcOrd="1" destOrd="0" parTransId="{91AD438C-9CD2-4781-9C31-4002EC39C794}" sibTransId="{4B0E2ED8-C97F-4668-A29A-044C1560036B}"/>
    <dgm:cxn modelId="{A76810B1-7D58-4509-B5DE-DD10E9849B0D}" type="presOf" srcId="{79B4A344-E1CF-4867-97F1-322B52E1FFC2}" destId="{85CA1EC7-2A0B-4C9C-A6D0-43E4D3D4DF48}" srcOrd="0" destOrd="0" presId="urn:microsoft.com/office/officeart/2005/8/layout/orgChart1"/>
    <dgm:cxn modelId="{516A0C18-B8F7-4508-8B5D-66426B3AEE07}" type="presOf" srcId="{77E97F99-610B-4FF3-AF84-BF3FBDF7DCB9}" destId="{11F80D57-6E64-42BF-9311-55E37177781B}" srcOrd="1" destOrd="0" presId="urn:microsoft.com/office/officeart/2005/8/layout/orgChart1"/>
    <dgm:cxn modelId="{F7B9F1B9-8E61-4BD2-B54E-A9FC23E9490A}" type="presOf" srcId="{444A7865-8DA2-46A4-8324-3ABA71F1E5C0}" destId="{C9C7DC0B-EB79-41C2-9509-25B5029BE08A}" srcOrd="1" destOrd="0" presId="urn:microsoft.com/office/officeart/2005/8/layout/orgChart1"/>
    <dgm:cxn modelId="{10F8A043-63EF-46FB-A0AA-2D3F3FBD66E8}" type="presOf" srcId="{3D8D2C37-9F05-4B1B-89F8-F5F3B939D6F3}" destId="{5DD28620-819E-4364-8540-F8248FFAD403}" srcOrd="0" destOrd="0" presId="urn:microsoft.com/office/officeart/2005/8/layout/orgChart1"/>
    <dgm:cxn modelId="{7F6FCF5E-E627-4C2E-84E6-4466B16D1B94}" type="presOf" srcId="{31824548-3084-42AE-8947-6AFD6A8B6457}" destId="{5CE76936-2952-45DD-BF81-8434AF5AE1AF}" srcOrd="0" destOrd="0" presId="urn:microsoft.com/office/officeart/2005/8/layout/orgChart1"/>
    <dgm:cxn modelId="{477F644A-5F61-40C7-A9F8-B48DBDAD36C2}" type="presOf" srcId="{444A7865-8DA2-46A4-8324-3ABA71F1E5C0}" destId="{142E4259-686A-4F6E-A219-029C8B6F888E}" srcOrd="0" destOrd="0" presId="urn:microsoft.com/office/officeart/2005/8/layout/orgChart1"/>
    <dgm:cxn modelId="{2B7CB788-1B68-4E9F-BEEF-4B1697C4566A}" type="presOf" srcId="{4E814B0E-06C1-4FB5-BDA2-BF52151B2880}" destId="{1064CE66-84C8-4ABF-A219-6CE3DC0326BF}" srcOrd="0" destOrd="0" presId="urn:microsoft.com/office/officeart/2005/8/layout/orgChart1"/>
    <dgm:cxn modelId="{FFB72A9D-CB0B-49FD-8284-79DEE41675B3}" type="presOf" srcId="{5BCE662D-3F66-43A4-8D5A-876E32E84DFF}" destId="{2E9C63D6-6A86-42E0-8B71-02AB78161BC0}" srcOrd="0" destOrd="0" presId="urn:microsoft.com/office/officeart/2005/8/layout/orgChart1"/>
    <dgm:cxn modelId="{16D0A61A-5914-4416-B8AD-4CF143ACF8C7}" type="presOf" srcId="{E69345CB-2D4C-4A54-A7B2-F68DE8C8512F}" destId="{A4F4E0B4-F627-4218-A48C-AA7EE86E206D}" srcOrd="0" destOrd="0" presId="urn:microsoft.com/office/officeart/2005/8/layout/orgChart1"/>
    <dgm:cxn modelId="{8675F231-6EA1-4A0B-B422-14DF17E49F77}" type="presParOf" srcId="{885195E8-D7BE-4C06-B501-ACDA1C730D7F}" destId="{B0D074E7-6886-4A83-911A-A3AFCF6758D3}" srcOrd="0" destOrd="0" presId="urn:microsoft.com/office/officeart/2005/8/layout/orgChart1"/>
    <dgm:cxn modelId="{C67D404E-C3C0-4596-858F-581ADC72BFFE}" type="presParOf" srcId="{B0D074E7-6886-4A83-911A-A3AFCF6758D3}" destId="{266FBED4-7FDD-440D-95A5-D3D48C2EAF28}" srcOrd="0" destOrd="0" presId="urn:microsoft.com/office/officeart/2005/8/layout/orgChart1"/>
    <dgm:cxn modelId="{7CBF6203-8974-4E15-92EA-E0A1AE127EEF}" type="presParOf" srcId="{266FBED4-7FDD-440D-95A5-D3D48C2EAF28}" destId="{142E4259-686A-4F6E-A219-029C8B6F888E}" srcOrd="0" destOrd="0" presId="urn:microsoft.com/office/officeart/2005/8/layout/orgChart1"/>
    <dgm:cxn modelId="{0A0FEBE3-6F5A-4E02-A393-25F92DE9B1AF}" type="presParOf" srcId="{266FBED4-7FDD-440D-95A5-D3D48C2EAF28}" destId="{C9C7DC0B-EB79-41C2-9509-25B5029BE08A}" srcOrd="1" destOrd="0" presId="urn:microsoft.com/office/officeart/2005/8/layout/orgChart1"/>
    <dgm:cxn modelId="{D1CE9B6F-4C21-49EA-BAC2-CB83759E48E8}" type="presParOf" srcId="{B0D074E7-6886-4A83-911A-A3AFCF6758D3}" destId="{7BC8522E-4DA1-48AD-B010-5EBB64D881BB}" srcOrd="1" destOrd="0" presId="urn:microsoft.com/office/officeart/2005/8/layout/orgChart1"/>
    <dgm:cxn modelId="{071139E8-792E-448E-B66C-26D4853667DC}" type="presParOf" srcId="{7BC8522E-4DA1-48AD-B010-5EBB64D881BB}" destId="{5CE76936-2952-45DD-BF81-8434AF5AE1AF}" srcOrd="0" destOrd="0" presId="urn:microsoft.com/office/officeart/2005/8/layout/orgChart1"/>
    <dgm:cxn modelId="{AB878BFB-3EA8-410F-AE24-06AD4BB7934B}" type="presParOf" srcId="{7BC8522E-4DA1-48AD-B010-5EBB64D881BB}" destId="{AD37CA63-15B8-4CBC-B774-73AABC193BDE}" srcOrd="1" destOrd="0" presId="urn:microsoft.com/office/officeart/2005/8/layout/orgChart1"/>
    <dgm:cxn modelId="{3B1BCEA0-0EE7-41F9-AAE5-6F855C8D939E}" type="presParOf" srcId="{AD37CA63-15B8-4CBC-B774-73AABC193BDE}" destId="{2E05BD40-E9B2-47C1-AA79-D62D98175D76}" srcOrd="0" destOrd="0" presId="urn:microsoft.com/office/officeart/2005/8/layout/orgChart1"/>
    <dgm:cxn modelId="{EA05DAB3-4B63-4AA7-B109-0A83EDC0E321}" type="presParOf" srcId="{2E05BD40-E9B2-47C1-AA79-D62D98175D76}" destId="{50994B2A-6327-45E8-A907-3E8A4BE823D3}" srcOrd="0" destOrd="0" presId="urn:microsoft.com/office/officeart/2005/8/layout/orgChart1"/>
    <dgm:cxn modelId="{E305B7A5-B8A5-466B-A22E-88FBB11903CB}" type="presParOf" srcId="{2E05BD40-E9B2-47C1-AA79-D62D98175D76}" destId="{5350851E-05CE-476E-B520-C9DDB56B135D}" srcOrd="1" destOrd="0" presId="urn:microsoft.com/office/officeart/2005/8/layout/orgChart1"/>
    <dgm:cxn modelId="{A0BB1836-675E-4EF9-BD89-C3622DB696A4}" type="presParOf" srcId="{AD37CA63-15B8-4CBC-B774-73AABC193BDE}" destId="{A552EA70-C51C-492C-B9D7-17383A9E95A3}" srcOrd="1" destOrd="0" presId="urn:microsoft.com/office/officeart/2005/8/layout/orgChart1"/>
    <dgm:cxn modelId="{5440D90B-9B51-4DC0-A228-C6EE0DA09FDD}" type="presParOf" srcId="{AD37CA63-15B8-4CBC-B774-73AABC193BDE}" destId="{65C795A2-699A-4D6C-865C-7C1F848006AF}" srcOrd="2" destOrd="0" presId="urn:microsoft.com/office/officeart/2005/8/layout/orgChart1"/>
    <dgm:cxn modelId="{21784534-82FF-444D-B949-F1166E10FD49}" type="presParOf" srcId="{7BC8522E-4DA1-48AD-B010-5EBB64D881BB}" destId="{65ABF144-4469-4CFA-9D31-BDC6EF2428C8}" srcOrd="2" destOrd="0" presId="urn:microsoft.com/office/officeart/2005/8/layout/orgChart1"/>
    <dgm:cxn modelId="{81C940B0-18B4-4CA6-B2D0-6A0C8E6BAF69}" type="presParOf" srcId="{7BC8522E-4DA1-48AD-B010-5EBB64D881BB}" destId="{2B5A0BE4-572B-4E71-B358-C98DABF01C47}" srcOrd="3" destOrd="0" presId="urn:microsoft.com/office/officeart/2005/8/layout/orgChart1"/>
    <dgm:cxn modelId="{7C24FFD9-E8F1-4228-9C30-D8039C3871C2}" type="presParOf" srcId="{2B5A0BE4-572B-4E71-B358-C98DABF01C47}" destId="{559FAFB8-DF5A-4DAF-AB39-106925F00B46}" srcOrd="0" destOrd="0" presId="urn:microsoft.com/office/officeart/2005/8/layout/orgChart1"/>
    <dgm:cxn modelId="{7ED6A670-CBB2-4AA6-95BF-2F581C5EEADF}" type="presParOf" srcId="{559FAFB8-DF5A-4DAF-AB39-106925F00B46}" destId="{DA1E827D-3458-44BD-85F2-32F0A448792F}" srcOrd="0" destOrd="0" presId="urn:microsoft.com/office/officeart/2005/8/layout/orgChart1"/>
    <dgm:cxn modelId="{8C5E6CE8-2F46-430D-B589-F2B572CD76E5}" type="presParOf" srcId="{559FAFB8-DF5A-4DAF-AB39-106925F00B46}" destId="{E0B7990E-2B79-46E9-8E0A-FB178376C3E1}" srcOrd="1" destOrd="0" presId="urn:microsoft.com/office/officeart/2005/8/layout/orgChart1"/>
    <dgm:cxn modelId="{5918B0AE-947B-4ED6-8D74-03C59C75A0D8}" type="presParOf" srcId="{2B5A0BE4-572B-4E71-B358-C98DABF01C47}" destId="{FC9A854A-DCB0-4A68-8FF2-B85A15FC7BA3}" srcOrd="1" destOrd="0" presId="urn:microsoft.com/office/officeart/2005/8/layout/orgChart1"/>
    <dgm:cxn modelId="{2229DA18-6214-48C3-AFF3-192DCC34CBE8}" type="presParOf" srcId="{2B5A0BE4-572B-4E71-B358-C98DABF01C47}" destId="{94889143-F553-4FBC-867A-C5BE446D1B2D}" srcOrd="2" destOrd="0" presId="urn:microsoft.com/office/officeart/2005/8/layout/orgChart1"/>
    <dgm:cxn modelId="{AF733E0F-62A4-4D04-92EB-BED738CF2112}" type="presParOf" srcId="{7BC8522E-4DA1-48AD-B010-5EBB64D881BB}" destId="{0E609146-01DB-4401-826D-E1527AC39B3D}" srcOrd="4" destOrd="0" presId="urn:microsoft.com/office/officeart/2005/8/layout/orgChart1"/>
    <dgm:cxn modelId="{D2561172-E2EF-4F3B-9EAD-788BBF68A80B}" type="presParOf" srcId="{7BC8522E-4DA1-48AD-B010-5EBB64D881BB}" destId="{04E14119-32BF-4028-BD8F-425B1DC1D56E}" srcOrd="5" destOrd="0" presId="urn:microsoft.com/office/officeart/2005/8/layout/orgChart1"/>
    <dgm:cxn modelId="{01CE8A45-BF7A-4B14-B8E0-AFAF6DB6A2E3}" type="presParOf" srcId="{04E14119-32BF-4028-BD8F-425B1DC1D56E}" destId="{9A8029F9-5C6A-45EA-8027-31F08C035A18}" srcOrd="0" destOrd="0" presId="urn:microsoft.com/office/officeart/2005/8/layout/orgChart1"/>
    <dgm:cxn modelId="{34CD92A3-4768-45C8-A141-74431B999DB1}" type="presParOf" srcId="{9A8029F9-5C6A-45EA-8027-31F08C035A18}" destId="{20BCCF02-4BAD-41B3-829B-DB375D141B00}" srcOrd="0" destOrd="0" presId="urn:microsoft.com/office/officeart/2005/8/layout/orgChart1"/>
    <dgm:cxn modelId="{BE200C3B-4397-4B01-BDCA-ED9A8B6570C9}" type="presParOf" srcId="{9A8029F9-5C6A-45EA-8027-31F08C035A18}" destId="{CAB1FBD8-81E5-42B4-952B-9562DD11E12B}" srcOrd="1" destOrd="0" presId="urn:microsoft.com/office/officeart/2005/8/layout/orgChart1"/>
    <dgm:cxn modelId="{364542E6-E5E3-40B6-BC5E-B2C84CF984F9}" type="presParOf" srcId="{04E14119-32BF-4028-BD8F-425B1DC1D56E}" destId="{D4333740-B68A-4EFF-8DFE-CA27C2AE99D5}" srcOrd="1" destOrd="0" presId="urn:microsoft.com/office/officeart/2005/8/layout/orgChart1"/>
    <dgm:cxn modelId="{CD37168F-FA1F-460A-A61C-427BBCDF50D7}" type="presParOf" srcId="{D4333740-B68A-4EFF-8DFE-CA27C2AE99D5}" destId="{5DD28620-819E-4364-8540-F8248FFAD403}" srcOrd="0" destOrd="0" presId="urn:microsoft.com/office/officeart/2005/8/layout/orgChart1"/>
    <dgm:cxn modelId="{AAE463F0-69CE-4321-8293-BD1A5302F1D4}" type="presParOf" srcId="{D4333740-B68A-4EFF-8DFE-CA27C2AE99D5}" destId="{E5E45530-8F8F-4626-A22D-2F5CFCDD7900}" srcOrd="1" destOrd="0" presId="urn:microsoft.com/office/officeart/2005/8/layout/orgChart1"/>
    <dgm:cxn modelId="{958E23E9-1E0F-454C-AF3A-37D6972241F8}" type="presParOf" srcId="{E5E45530-8F8F-4626-A22D-2F5CFCDD7900}" destId="{C24B3544-7FF8-4FCD-A4BF-31D02603B85B}" srcOrd="0" destOrd="0" presId="urn:microsoft.com/office/officeart/2005/8/layout/orgChart1"/>
    <dgm:cxn modelId="{75A4B102-963C-43AC-85B6-1302C5294EC1}" type="presParOf" srcId="{C24B3544-7FF8-4FCD-A4BF-31D02603B85B}" destId="{2AA623D5-E069-4AA1-9CE4-E8307F243054}" srcOrd="0" destOrd="0" presId="urn:microsoft.com/office/officeart/2005/8/layout/orgChart1"/>
    <dgm:cxn modelId="{DD534932-65AC-4B86-8BFF-D919E89F371C}" type="presParOf" srcId="{C24B3544-7FF8-4FCD-A4BF-31D02603B85B}" destId="{11F80D57-6E64-42BF-9311-55E37177781B}" srcOrd="1" destOrd="0" presId="urn:microsoft.com/office/officeart/2005/8/layout/orgChart1"/>
    <dgm:cxn modelId="{EB7B437C-0E55-4343-BD73-07DF260F3E0C}" type="presParOf" srcId="{E5E45530-8F8F-4626-A22D-2F5CFCDD7900}" destId="{57A4CD66-3EFF-423F-9BB2-3E6D51AE361C}" srcOrd="1" destOrd="0" presId="urn:microsoft.com/office/officeart/2005/8/layout/orgChart1"/>
    <dgm:cxn modelId="{EA36E134-BBE1-4EB0-9258-284F85A34C56}" type="presParOf" srcId="{E5E45530-8F8F-4626-A22D-2F5CFCDD7900}" destId="{16A2745B-CC6C-4C16-8793-E55885878BB3}" srcOrd="2" destOrd="0" presId="urn:microsoft.com/office/officeart/2005/8/layout/orgChart1"/>
    <dgm:cxn modelId="{45E1FEA9-D486-4E48-9013-CB554C150E98}" type="presParOf" srcId="{D4333740-B68A-4EFF-8DFE-CA27C2AE99D5}" destId="{85CA1EC7-2A0B-4C9C-A6D0-43E4D3D4DF48}" srcOrd="2" destOrd="0" presId="urn:microsoft.com/office/officeart/2005/8/layout/orgChart1"/>
    <dgm:cxn modelId="{5DA3A61E-B730-45DC-9A06-C3F8267E321C}" type="presParOf" srcId="{D4333740-B68A-4EFF-8DFE-CA27C2AE99D5}" destId="{8D363481-9BAC-433B-881D-40F67F2D570C}" srcOrd="3" destOrd="0" presId="urn:microsoft.com/office/officeart/2005/8/layout/orgChart1"/>
    <dgm:cxn modelId="{2046E5ED-A177-4537-B38D-5B664342CEE9}" type="presParOf" srcId="{8D363481-9BAC-433B-881D-40F67F2D570C}" destId="{170BE6AA-A261-4B22-9F13-A66856F3E588}" srcOrd="0" destOrd="0" presId="urn:microsoft.com/office/officeart/2005/8/layout/orgChart1"/>
    <dgm:cxn modelId="{1809AF4E-E347-47F7-9B84-CC8DD74B42F1}" type="presParOf" srcId="{170BE6AA-A261-4B22-9F13-A66856F3E588}" destId="{DD550BCD-075D-487A-8A3B-513DFEC98545}" srcOrd="0" destOrd="0" presId="urn:microsoft.com/office/officeart/2005/8/layout/orgChart1"/>
    <dgm:cxn modelId="{CAF2FC98-B54E-4018-95BD-7EE6CC25A3DC}" type="presParOf" srcId="{170BE6AA-A261-4B22-9F13-A66856F3E588}" destId="{2A870FC7-9815-4440-BB75-F2F4074787D6}" srcOrd="1" destOrd="0" presId="urn:microsoft.com/office/officeart/2005/8/layout/orgChart1"/>
    <dgm:cxn modelId="{DF61C515-CC7B-492C-8074-1724E88070B2}" type="presParOf" srcId="{8D363481-9BAC-433B-881D-40F67F2D570C}" destId="{2D23421F-0FE7-45C3-80AF-C3BF2449FE5B}" srcOrd="1" destOrd="0" presId="urn:microsoft.com/office/officeart/2005/8/layout/orgChart1"/>
    <dgm:cxn modelId="{798155B3-1764-4F83-8C28-07983B40A0E6}" type="presParOf" srcId="{8D363481-9BAC-433B-881D-40F67F2D570C}" destId="{9AF6A57B-75AB-408A-BBC4-ADD83E5EA002}" srcOrd="2" destOrd="0" presId="urn:microsoft.com/office/officeart/2005/8/layout/orgChart1"/>
    <dgm:cxn modelId="{1549235C-F4E6-4BEF-8C57-9FB556249A0A}" type="presParOf" srcId="{04E14119-32BF-4028-BD8F-425B1DC1D56E}" destId="{84A3A0D5-746A-444A-BC4D-AAD2E43F175B}" srcOrd="2" destOrd="0" presId="urn:microsoft.com/office/officeart/2005/8/layout/orgChart1"/>
    <dgm:cxn modelId="{B31C09EF-1409-485E-B37C-B7CEE3F2E0CC}" type="presParOf" srcId="{7BC8522E-4DA1-48AD-B010-5EBB64D881BB}" destId="{2E9C63D6-6A86-42E0-8B71-02AB78161BC0}" srcOrd="6" destOrd="0" presId="urn:microsoft.com/office/officeart/2005/8/layout/orgChart1"/>
    <dgm:cxn modelId="{37EF2779-AA3C-412D-B771-BCF0CB412F32}" type="presParOf" srcId="{7BC8522E-4DA1-48AD-B010-5EBB64D881BB}" destId="{B438EC90-B184-48F5-B20D-A3F21E661ECC}" srcOrd="7" destOrd="0" presId="urn:microsoft.com/office/officeart/2005/8/layout/orgChart1"/>
    <dgm:cxn modelId="{E20159F5-9CE0-4CDC-951B-49A193B5284B}" type="presParOf" srcId="{B438EC90-B184-48F5-B20D-A3F21E661ECC}" destId="{992F1712-0E99-49D5-8C38-452D9736EE48}" srcOrd="0" destOrd="0" presId="urn:microsoft.com/office/officeart/2005/8/layout/orgChart1"/>
    <dgm:cxn modelId="{28D95FD5-D0E7-4B97-8B36-1E0975B836F3}" type="presParOf" srcId="{992F1712-0E99-49D5-8C38-452D9736EE48}" destId="{A4F4E0B4-F627-4218-A48C-AA7EE86E206D}" srcOrd="0" destOrd="0" presId="urn:microsoft.com/office/officeart/2005/8/layout/orgChart1"/>
    <dgm:cxn modelId="{17ABF4AB-67FA-42A9-8FEF-4E025E64587A}" type="presParOf" srcId="{992F1712-0E99-49D5-8C38-452D9736EE48}" destId="{D5C4B59C-8096-4D28-A9A8-31CE1E6C414E}" srcOrd="1" destOrd="0" presId="urn:microsoft.com/office/officeart/2005/8/layout/orgChart1"/>
    <dgm:cxn modelId="{54DC53A9-96F2-46BC-B179-AA11375534A1}" type="presParOf" srcId="{B438EC90-B184-48F5-B20D-A3F21E661ECC}" destId="{A7641047-C9FB-487D-B70E-E7CCE365AC72}" srcOrd="1" destOrd="0" presId="urn:microsoft.com/office/officeart/2005/8/layout/orgChart1"/>
    <dgm:cxn modelId="{C5452FB0-4DFF-4EBE-9650-FBB8CE3601B9}" type="presParOf" srcId="{B438EC90-B184-48F5-B20D-A3F21E661ECC}" destId="{6563043A-00BB-4D1E-BAB8-629BC5D86B64}" srcOrd="2" destOrd="0" presId="urn:microsoft.com/office/officeart/2005/8/layout/orgChart1"/>
    <dgm:cxn modelId="{2F301B61-04EA-4761-9F97-48EFAFA72591}" type="presParOf" srcId="{7BC8522E-4DA1-48AD-B010-5EBB64D881BB}" destId="{9561B7A6-469D-4222-9FEE-C90F3D1D61A0}" srcOrd="8" destOrd="0" presId="urn:microsoft.com/office/officeart/2005/8/layout/orgChart1"/>
    <dgm:cxn modelId="{C5414805-2FF4-49A8-8414-7CB93E16085A}" type="presParOf" srcId="{7BC8522E-4DA1-48AD-B010-5EBB64D881BB}" destId="{C2CAB329-F42B-4EA0-91E5-5F94A13874CD}" srcOrd="9" destOrd="0" presId="urn:microsoft.com/office/officeart/2005/8/layout/orgChart1"/>
    <dgm:cxn modelId="{0BBD72C9-A870-4D75-9D20-6C66FE737FD1}" type="presParOf" srcId="{C2CAB329-F42B-4EA0-91E5-5F94A13874CD}" destId="{0B977959-A639-4177-8032-58A95BF3E073}" srcOrd="0" destOrd="0" presId="urn:microsoft.com/office/officeart/2005/8/layout/orgChart1"/>
    <dgm:cxn modelId="{6D67B4C9-4999-4A5E-B154-5EE3CE70B586}" type="presParOf" srcId="{0B977959-A639-4177-8032-58A95BF3E073}" destId="{1064CE66-84C8-4ABF-A219-6CE3DC0326BF}" srcOrd="0" destOrd="0" presId="urn:microsoft.com/office/officeart/2005/8/layout/orgChart1"/>
    <dgm:cxn modelId="{DD3BF632-2450-4A7D-94AE-401E8F0DEA29}" type="presParOf" srcId="{0B977959-A639-4177-8032-58A95BF3E073}" destId="{B240C91F-EED5-404A-86EF-39AEBCF75CBB}" srcOrd="1" destOrd="0" presId="urn:microsoft.com/office/officeart/2005/8/layout/orgChart1"/>
    <dgm:cxn modelId="{8004A3C3-3B42-4F80-806F-E348CAAEBE2C}" type="presParOf" srcId="{C2CAB329-F42B-4EA0-91E5-5F94A13874CD}" destId="{EBCE58E7-007D-4F95-9533-D0181CDA7511}" srcOrd="1" destOrd="0" presId="urn:microsoft.com/office/officeart/2005/8/layout/orgChart1"/>
    <dgm:cxn modelId="{3049CB19-1B4D-4FEA-B3DF-E43DB0F81FBD}" type="presParOf" srcId="{C2CAB329-F42B-4EA0-91E5-5F94A13874CD}" destId="{888A2193-101D-44A9-9A57-8ECF60EA2925}" srcOrd="2" destOrd="0" presId="urn:microsoft.com/office/officeart/2005/8/layout/orgChart1"/>
    <dgm:cxn modelId="{58D8E3D3-9C41-4D3E-817F-887B16EC5988}" type="presParOf" srcId="{B0D074E7-6886-4A83-911A-A3AFCF6758D3}" destId="{B544B614-EF9B-47E0-8D19-2AEE22CE23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561B7A6-469D-4222-9FEE-C90F3D1D61A0}">
      <dsp:nvSpPr>
        <dsp:cNvPr id="0" name=""/>
        <dsp:cNvSpPr/>
      </dsp:nvSpPr>
      <dsp:spPr>
        <a:xfrm>
          <a:off x="3965015" y="1400388"/>
          <a:ext cx="3559411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3559411" y="66241"/>
              </a:lnTo>
              <a:lnTo>
                <a:pt x="3559411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9C63D6-6A86-42E0-8B71-02AB78161BC0}">
      <dsp:nvSpPr>
        <dsp:cNvPr id="0" name=""/>
        <dsp:cNvSpPr/>
      </dsp:nvSpPr>
      <dsp:spPr>
        <a:xfrm>
          <a:off x="3965015" y="1400388"/>
          <a:ext cx="1854597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854597" y="66241"/>
              </a:lnTo>
              <a:lnTo>
                <a:pt x="1854597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CA1EC7-2A0B-4C9C-A6D0-43E4D3D4DF48}">
      <dsp:nvSpPr>
        <dsp:cNvPr id="0" name=""/>
        <dsp:cNvSpPr/>
      </dsp:nvSpPr>
      <dsp:spPr>
        <a:xfrm>
          <a:off x="3551224" y="2319036"/>
          <a:ext cx="211340" cy="16484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8456"/>
              </a:lnTo>
              <a:lnTo>
                <a:pt x="211340" y="1648456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D28620-819E-4364-8540-F8248FFAD403}">
      <dsp:nvSpPr>
        <dsp:cNvPr id="0" name=""/>
        <dsp:cNvSpPr/>
      </dsp:nvSpPr>
      <dsp:spPr>
        <a:xfrm>
          <a:off x="3551224" y="2319036"/>
          <a:ext cx="211340" cy="6481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8111"/>
              </a:lnTo>
              <a:lnTo>
                <a:pt x="211340" y="648111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609146-01DB-4401-826D-E1527AC39B3D}">
      <dsp:nvSpPr>
        <dsp:cNvPr id="0" name=""/>
        <dsp:cNvSpPr/>
      </dsp:nvSpPr>
      <dsp:spPr>
        <a:xfrm>
          <a:off x="3965015" y="1400388"/>
          <a:ext cx="149784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49784" y="66241"/>
              </a:lnTo>
              <a:lnTo>
                <a:pt x="149784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ABF144-4469-4CFA-9D31-BDC6EF2428C8}">
      <dsp:nvSpPr>
        <dsp:cNvPr id="0" name=""/>
        <dsp:cNvSpPr/>
      </dsp:nvSpPr>
      <dsp:spPr>
        <a:xfrm>
          <a:off x="2409985" y="1400388"/>
          <a:ext cx="1555029" cy="214179"/>
        </a:xfrm>
        <a:custGeom>
          <a:avLst/>
          <a:gdLst/>
          <a:ahLst/>
          <a:cxnLst/>
          <a:rect l="0" t="0" r="0" b="0"/>
          <a:pathLst>
            <a:path>
              <a:moveTo>
                <a:pt x="1555029" y="0"/>
              </a:moveTo>
              <a:lnTo>
                <a:pt x="1555029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E76936-2952-45DD-BF81-8434AF5AE1AF}">
      <dsp:nvSpPr>
        <dsp:cNvPr id="0" name=""/>
        <dsp:cNvSpPr/>
      </dsp:nvSpPr>
      <dsp:spPr>
        <a:xfrm>
          <a:off x="705171" y="1400388"/>
          <a:ext cx="3259843" cy="214179"/>
        </a:xfrm>
        <a:custGeom>
          <a:avLst/>
          <a:gdLst/>
          <a:ahLst/>
          <a:cxnLst/>
          <a:rect l="0" t="0" r="0" b="0"/>
          <a:pathLst>
            <a:path>
              <a:moveTo>
                <a:pt x="3259843" y="0"/>
              </a:moveTo>
              <a:lnTo>
                <a:pt x="3259843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2E4259-686A-4F6E-A219-029C8B6F888E}">
      <dsp:nvSpPr>
        <dsp:cNvPr id="0" name=""/>
        <dsp:cNvSpPr/>
      </dsp:nvSpPr>
      <dsp:spPr>
        <a:xfrm>
          <a:off x="3260546" y="695919"/>
          <a:ext cx="1408937" cy="70446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260546" y="695919"/>
        <a:ext cx="1408937" cy="704468"/>
      </dsp:txXfrm>
    </dsp:sp>
    <dsp:sp modelId="{50994B2A-6327-45E8-A907-3E8A4BE823D3}">
      <dsp:nvSpPr>
        <dsp:cNvPr id="0" name=""/>
        <dsp:cNvSpPr/>
      </dsp:nvSpPr>
      <dsp:spPr>
        <a:xfrm>
          <a:off x="703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e 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R </a:t>
          </a:r>
          <a:r>
            <a:rPr lang="fr-FR" sz="1200" i="1" kern="1200" dirty="0" err="1" smtClean="0"/>
            <a:t>Priem</a:t>
          </a:r>
          <a:endParaRPr lang="fr-FR" sz="1200" i="1" kern="1200" dirty="0"/>
        </a:p>
      </dsp:txBody>
      <dsp:txXfrm>
        <a:off x="703" y="1614568"/>
        <a:ext cx="1408937" cy="704468"/>
      </dsp:txXfrm>
    </dsp:sp>
    <dsp:sp modelId="{DA1E827D-3458-44BD-85F2-32F0A448792F}">
      <dsp:nvSpPr>
        <dsp:cNvPr id="0" name=""/>
        <dsp:cNvSpPr/>
      </dsp:nvSpPr>
      <dsp:spPr>
        <a:xfrm>
          <a:off x="1705517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u code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1705517" y="1614568"/>
        <a:ext cx="1408937" cy="704468"/>
      </dsp:txXfrm>
    </dsp:sp>
    <dsp:sp modelId="{20BCCF02-4BAD-41B3-829B-DB375D141B00}">
      <dsp:nvSpPr>
        <dsp:cNvPr id="0" name=""/>
        <dsp:cNvSpPr/>
      </dsp:nvSpPr>
      <dsp:spPr>
        <a:xfrm>
          <a:off x="3410330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veloppement</a:t>
          </a:r>
          <a:br>
            <a:rPr lang="fr-FR" sz="1200" b="1" kern="1200" dirty="0" smtClean="0"/>
          </a:br>
          <a:r>
            <a:rPr lang="fr-FR" sz="1200" i="1" kern="1200" dirty="0" smtClean="0"/>
            <a:t>A Lahbabi</a:t>
          </a:r>
          <a:endParaRPr lang="fr-FR" sz="1200" i="1" kern="1200" dirty="0"/>
        </a:p>
      </dsp:txBody>
      <dsp:txXfrm>
        <a:off x="3410330" y="1614568"/>
        <a:ext cx="1408937" cy="704468"/>
      </dsp:txXfrm>
    </dsp:sp>
    <dsp:sp modelId="{2AA623D5-E069-4AA1-9CE4-E8307F243054}">
      <dsp:nvSpPr>
        <dsp:cNvPr id="0" name=""/>
        <dsp:cNvSpPr/>
      </dsp:nvSpPr>
      <dsp:spPr>
        <a:xfrm>
          <a:off x="3762565" y="2614913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ata </a:t>
          </a:r>
          <a:r>
            <a:rPr lang="fr-FR" sz="1200" b="1" kern="1200" dirty="0" err="1" smtClean="0"/>
            <a:t>processing</a:t>
          </a:r>
          <a:r>
            <a:rPr lang="fr-FR" sz="1200" b="1" kern="1200" dirty="0" smtClean="0"/>
            <a:t> et Visualisation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3762565" y="2614913"/>
        <a:ext cx="1408937" cy="704468"/>
      </dsp:txXfrm>
    </dsp:sp>
    <dsp:sp modelId="{DD550BCD-075D-487A-8A3B-513DFEC98545}">
      <dsp:nvSpPr>
        <dsp:cNvPr id="0" name=""/>
        <dsp:cNvSpPr/>
      </dsp:nvSpPr>
      <dsp:spPr>
        <a:xfrm>
          <a:off x="3762565" y="3615258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tection</a:t>
          </a:r>
          <a:br>
            <a:rPr lang="fr-FR" sz="1200" b="1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762565" y="3615258"/>
        <a:ext cx="1408937" cy="704468"/>
      </dsp:txXfrm>
    </dsp:sp>
    <dsp:sp modelId="{A4F4E0B4-F627-4218-A48C-AA7EE86E206D}">
      <dsp:nvSpPr>
        <dsp:cNvPr id="0" name=""/>
        <dsp:cNvSpPr/>
      </dsp:nvSpPr>
      <dsp:spPr>
        <a:xfrm>
          <a:off x="5115144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ocumentation</a:t>
          </a:r>
          <a:br>
            <a:rPr lang="fr-FR" sz="1200" b="1" kern="1200" dirty="0" smtClean="0"/>
          </a:br>
          <a:r>
            <a:rPr lang="fr-FR" sz="1200" i="1" kern="1200" dirty="0" smtClean="0"/>
            <a:t>Q Jacob</a:t>
          </a:r>
          <a:endParaRPr lang="fr-FR" sz="1200" i="1" kern="1200" dirty="0"/>
        </a:p>
      </dsp:txBody>
      <dsp:txXfrm>
        <a:off x="5115144" y="1614568"/>
        <a:ext cx="1408937" cy="704468"/>
      </dsp:txXfrm>
    </dsp:sp>
    <dsp:sp modelId="{1064CE66-84C8-4ABF-A219-6CE3DC0326BF}">
      <dsp:nvSpPr>
        <dsp:cNvPr id="0" name=""/>
        <dsp:cNvSpPr/>
      </dsp:nvSpPr>
      <dsp:spPr>
        <a:xfrm>
          <a:off x="6819958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Bibliographie</a:t>
          </a:r>
          <a:br>
            <a:rPr lang="fr-FR" sz="1200" b="1" kern="1200" dirty="0" smtClean="0"/>
          </a:br>
          <a:r>
            <a:rPr lang="fr-FR" sz="1200" i="1" kern="1200" dirty="0" smtClean="0"/>
            <a:t>M Baudry</a:t>
          </a:r>
          <a:endParaRPr lang="fr-FR" sz="1200" i="1" kern="1200" dirty="0"/>
        </a:p>
      </dsp:txBody>
      <dsp:txXfrm>
        <a:off x="6819958" y="1614568"/>
        <a:ext cx="1408937" cy="7044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BC6B20-0E55-B44F-B76C-FA5F981DE882}" type="datetimeFigureOut">
              <a:rPr lang="fr-FR" smtClean="0"/>
              <a:pPr/>
              <a:t>20/0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63F8F6-2F3F-BC44-81B5-AE2985DF8450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87060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3F8F6-2F3F-BC44-81B5-AE2985DF8450}" type="slidenum">
              <a:rPr lang="fr-FR" smtClean="0"/>
              <a:pPr/>
              <a:t>4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rect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r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17" name="Sous-titr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fr-FR" smtClean="0"/>
              <a:t>Cliquez pour modifier le style des sous-titres du masque</a:t>
            </a:r>
            <a:endParaRPr kumimoji="0" lang="en-US"/>
          </a:p>
        </p:txBody>
      </p:sp>
      <p:grpSp>
        <p:nvGrpSpPr>
          <p:cNvPr id="2" name="Groupe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orme libre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Forme libre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Forme libre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Connecteur droit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e la date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19" name="Espace réservé du pied de page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fr-FR" smtClean="0"/>
              <a:t>Cliquez sur l'icône pour ajouter une image</a:t>
            </a:r>
            <a:endParaRPr kumimoji="0"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8" name="Forme libre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Forme libre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Triangle rect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Connecteur droit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e libre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Forme libre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Triangle rect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Connecteur droit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0" name="Espace réservé du texte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  <a:p>
            <a:pPr lvl="1" eaLnBrk="1" latinLnBrk="0" hangingPunct="1"/>
            <a:r>
              <a:rPr kumimoji="0" lang="fr-FR" smtClean="0"/>
              <a:t>Deuxième niveau</a:t>
            </a:r>
          </a:p>
          <a:p>
            <a:pPr lvl="2" eaLnBrk="1" latinLnBrk="0" hangingPunct="1"/>
            <a:r>
              <a:rPr kumimoji="0" lang="fr-FR" smtClean="0"/>
              <a:t>Troisième niveau</a:t>
            </a:r>
          </a:p>
          <a:p>
            <a:pPr lvl="3" eaLnBrk="1" latinLnBrk="0" hangingPunct="1"/>
            <a:r>
              <a:rPr kumimoji="0" lang="fr-FR" smtClean="0"/>
              <a:t>Quatrième niveau</a:t>
            </a:r>
          </a:p>
          <a:p>
            <a:pPr lvl="4" eaLnBrk="1" latinLnBrk="0" hangingPunct="1"/>
            <a:r>
              <a:rPr kumimoji="0" lang="fr-FR" smtClean="0"/>
              <a:t>Cinquième niveau</a:t>
            </a:r>
            <a:endParaRPr kumimoji="0" lang="en-US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Détection d’anomalie dans des données d’essais.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Revue de projet n°2 : 03/02/2017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476706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 rot="1980000">
            <a:off x="1685925" y="3133725"/>
            <a:ext cx="57518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dirty="0" smtClean="0">
                <a:solidFill>
                  <a:srgbClr val="FF0000"/>
                </a:solidFill>
              </a:rPr>
              <a:t>UPDATE NEEDED</a:t>
            </a:r>
            <a:endParaRPr lang="fr-FR" sz="5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dirty="0" smtClean="0"/>
              <a:t>20/01/2017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graphicFrame>
        <p:nvGraphicFramePr>
          <p:cNvPr id="7" name="Diagramme 6"/>
          <p:cNvGraphicFramePr/>
          <p:nvPr/>
        </p:nvGraphicFramePr>
        <p:xfrm>
          <a:off x="457200" y="1228726"/>
          <a:ext cx="8229599" cy="4933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e 18"/>
          <p:cNvGrpSpPr/>
          <p:nvPr/>
        </p:nvGrpSpPr>
        <p:grpSpPr>
          <a:xfrm>
            <a:off x="34631" y="1417638"/>
            <a:ext cx="8221362" cy="1385350"/>
            <a:chOff x="461318" y="1624281"/>
            <a:chExt cx="8221362" cy="1385350"/>
          </a:xfrm>
        </p:grpSpPr>
        <p:sp>
          <p:nvSpPr>
            <p:cNvPr id="20" name="Forme libre 19"/>
            <p:cNvSpPr/>
            <p:nvPr/>
          </p:nvSpPr>
          <p:spPr>
            <a:xfrm>
              <a:off x="857529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</p:txBody>
        </p:sp>
        <p:sp>
          <p:nvSpPr>
            <p:cNvPr id="21" name="Forme libre 20"/>
            <p:cNvSpPr/>
            <p:nvPr/>
          </p:nvSpPr>
          <p:spPr>
            <a:xfrm>
              <a:off x="461318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début de projet</a:t>
              </a:r>
              <a:endParaRPr lang="fr-FR" sz="900" kern="1200" dirty="0"/>
            </a:p>
          </p:txBody>
        </p:sp>
        <p:sp>
          <p:nvSpPr>
            <p:cNvPr id="22" name="Forme libre 21"/>
            <p:cNvSpPr/>
            <p:nvPr/>
          </p:nvSpPr>
          <p:spPr>
            <a:xfrm>
              <a:off x="2937632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1" tIns="212247" rIns="424910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Bibliographie</a:t>
              </a:r>
              <a:endParaRPr lang="fr-FR" sz="700" kern="1200" dirty="0"/>
            </a:p>
          </p:txBody>
        </p:sp>
        <p:sp>
          <p:nvSpPr>
            <p:cNvPr id="23" name="Forme libre 22"/>
            <p:cNvSpPr/>
            <p:nvPr/>
          </p:nvSpPr>
          <p:spPr>
            <a:xfrm>
              <a:off x="2541422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1</a:t>
              </a:r>
              <a:endParaRPr lang="fr-FR" sz="900" kern="1200" dirty="0"/>
            </a:p>
          </p:txBody>
        </p:sp>
        <p:sp>
          <p:nvSpPr>
            <p:cNvPr id="24" name="Forme libre 23"/>
            <p:cNvSpPr/>
            <p:nvPr/>
          </p:nvSpPr>
          <p:spPr>
            <a:xfrm>
              <a:off x="5017736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Développemen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Intégration et documentation </a:t>
              </a:r>
              <a:endParaRPr lang="fr-FR" sz="700" kern="1200" dirty="0"/>
            </a:p>
          </p:txBody>
        </p:sp>
        <p:sp>
          <p:nvSpPr>
            <p:cNvPr id="25" name="Forme libre 24"/>
            <p:cNvSpPr/>
            <p:nvPr/>
          </p:nvSpPr>
          <p:spPr>
            <a:xfrm>
              <a:off x="4621526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2 </a:t>
              </a:r>
              <a:endParaRPr lang="fr-FR" sz="900" kern="1200" dirty="0"/>
            </a:p>
          </p:txBody>
        </p:sp>
        <p:sp>
          <p:nvSpPr>
            <p:cNvPr id="26" name="Forme libre 25"/>
            <p:cNvSpPr/>
            <p:nvPr/>
          </p:nvSpPr>
          <p:spPr>
            <a:xfrm>
              <a:off x="7097840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Présentation </a:t>
              </a:r>
              <a:endParaRPr lang="fr-FR" sz="700" kern="1200" dirty="0"/>
            </a:p>
          </p:txBody>
        </p:sp>
        <p:sp>
          <p:nvSpPr>
            <p:cNvPr id="27" name="Forme libre 26"/>
            <p:cNvSpPr/>
            <p:nvPr/>
          </p:nvSpPr>
          <p:spPr>
            <a:xfrm>
              <a:off x="6701630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fin de projet</a:t>
              </a:r>
              <a:endParaRPr lang="fr-FR" sz="900" kern="1200" dirty="0"/>
            </a:p>
          </p:txBody>
        </p:sp>
      </p:grp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sp>
        <p:nvSpPr>
          <p:cNvPr id="28" name="Forme libre 27"/>
          <p:cNvSpPr/>
          <p:nvPr/>
        </p:nvSpPr>
        <p:spPr>
          <a:xfrm>
            <a:off x="8321103" y="1714103"/>
            <a:ext cx="792420" cy="792420"/>
          </a:xfrm>
          <a:custGeom>
            <a:avLst/>
            <a:gdLst>
              <a:gd name="connsiteX0" fmla="*/ 0 w 792420"/>
              <a:gd name="connsiteY0" fmla="*/ 396210 h 792420"/>
              <a:gd name="connsiteX1" fmla="*/ 116048 w 792420"/>
              <a:gd name="connsiteY1" fmla="*/ 116047 h 792420"/>
              <a:gd name="connsiteX2" fmla="*/ 396211 w 792420"/>
              <a:gd name="connsiteY2" fmla="*/ 0 h 792420"/>
              <a:gd name="connsiteX3" fmla="*/ 676374 w 792420"/>
              <a:gd name="connsiteY3" fmla="*/ 116048 h 792420"/>
              <a:gd name="connsiteX4" fmla="*/ 792421 w 792420"/>
              <a:gd name="connsiteY4" fmla="*/ 396211 h 792420"/>
              <a:gd name="connsiteX5" fmla="*/ 676374 w 792420"/>
              <a:gd name="connsiteY5" fmla="*/ 676374 h 792420"/>
              <a:gd name="connsiteX6" fmla="*/ 396211 w 792420"/>
              <a:gd name="connsiteY6" fmla="*/ 792421 h 792420"/>
              <a:gd name="connsiteX7" fmla="*/ 116048 w 792420"/>
              <a:gd name="connsiteY7" fmla="*/ 676374 h 792420"/>
              <a:gd name="connsiteX8" fmla="*/ 1 w 792420"/>
              <a:gd name="connsiteY8" fmla="*/ 396211 h 792420"/>
              <a:gd name="connsiteX9" fmla="*/ 0 w 792420"/>
              <a:gd name="connsiteY9" fmla="*/ 396210 h 792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2420" h="792420">
                <a:moveTo>
                  <a:pt x="0" y="396210"/>
                </a:moveTo>
                <a:cubicBezTo>
                  <a:pt x="0" y="291129"/>
                  <a:pt x="41744" y="190351"/>
                  <a:pt x="116048" y="116047"/>
                </a:cubicBezTo>
                <a:cubicBezTo>
                  <a:pt x="190352" y="41743"/>
                  <a:pt x="291130" y="0"/>
                  <a:pt x="396211" y="0"/>
                </a:cubicBezTo>
                <a:cubicBezTo>
                  <a:pt x="501292" y="0"/>
                  <a:pt x="602070" y="41744"/>
                  <a:pt x="676374" y="116048"/>
                </a:cubicBezTo>
                <a:cubicBezTo>
                  <a:pt x="750678" y="190352"/>
                  <a:pt x="792421" y="291130"/>
                  <a:pt x="792421" y="396211"/>
                </a:cubicBezTo>
                <a:cubicBezTo>
                  <a:pt x="792421" y="501292"/>
                  <a:pt x="750678" y="602070"/>
                  <a:pt x="676374" y="676374"/>
                </a:cubicBezTo>
                <a:cubicBezTo>
                  <a:pt x="602070" y="750678"/>
                  <a:pt x="501293" y="792421"/>
                  <a:pt x="396211" y="792421"/>
                </a:cubicBezTo>
                <a:cubicBezTo>
                  <a:pt x="291130" y="792421"/>
                  <a:pt x="190352" y="750677"/>
                  <a:pt x="116048" y="676374"/>
                </a:cubicBezTo>
                <a:cubicBezTo>
                  <a:pt x="41744" y="602070"/>
                  <a:pt x="1" y="501292"/>
                  <a:pt x="1" y="396211"/>
                </a:cubicBezTo>
                <a:lnTo>
                  <a:pt x="0" y="396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762" tIns="121762" rIns="121762" bIns="121762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smtClean="0"/>
              <a:t>Fin du Projet</a:t>
            </a:r>
            <a:endParaRPr lang="fr-FR" sz="900" kern="1200" dirty="0"/>
          </a:p>
        </p:txBody>
      </p:sp>
      <p:graphicFrame>
        <p:nvGraphicFramePr>
          <p:cNvPr id="29" name="Tableau 28"/>
          <p:cNvGraphicFramePr>
            <a:graphicFrameLocks noGrp="1"/>
          </p:cNvGraphicFramePr>
          <p:nvPr/>
        </p:nvGraphicFramePr>
        <p:xfrm>
          <a:off x="190498" y="3048000"/>
          <a:ext cx="8648702" cy="2705100"/>
        </p:xfrm>
        <a:graphic>
          <a:graphicData uri="http://schemas.openxmlformats.org/drawingml/2006/table">
            <a:tbl>
              <a:tblPr firstRow="1" firstCol="1" bandRow="1">
                <a:tableStyleId>{E8034E78-7F5D-4C2E-B375-FC64B27BC917}</a:tableStyleId>
              </a:tblPr>
              <a:tblGrid>
                <a:gridCol w="1590677"/>
                <a:gridCol w="7058025"/>
              </a:tblGrid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Phas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Ressource</a:t>
                      </a:r>
                      <a:endParaRPr lang="fr-FR" sz="1200" dirty="0"/>
                    </a:p>
                  </a:txBody>
                  <a:tcPr anchor="ctr"/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Début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 M.BAUDRY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2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smtClean="0">
                          <a:solidFill>
                            <a:sysClr val="windowText" lastClr="000000"/>
                          </a:solidFill>
                        </a:rPr>
                        <a:t>Gestion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 code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Y.WANG ; Imp. : F.FOREST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ocumentation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M.BAUDRY &amp; Y.WANG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éveloppement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Tous. 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Fin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2"/>
            </a:pPr>
            <a:r>
              <a:rPr lang="fr-FR" dirty="0" smtClean="0"/>
              <a:t>Planning </a:t>
            </a:r>
            <a:endParaRPr lang="fr-FR" dirty="0"/>
          </a:p>
        </p:txBody>
      </p:sp>
      <p:pic>
        <p:nvPicPr>
          <p:cNvPr id="1026" name="Picture 2" descr="C:\Users\Rémy\Documents\Ecole\TC\PIE\Code\gestion_projet\Gantt.PN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57200" y="1674383"/>
            <a:ext cx="8229600" cy="4139472"/>
          </a:xfrm>
          <a:prstGeom prst="rect">
            <a:avLst/>
          </a:prstGeom>
          <a:noFill/>
        </p:spPr>
      </p:pic>
      <p:sp>
        <p:nvSpPr>
          <p:cNvPr id="8" name="ZoneTexte 7"/>
          <p:cNvSpPr txBox="1"/>
          <p:nvPr/>
        </p:nvSpPr>
        <p:spPr>
          <a:xfrm rot="1980000">
            <a:off x="1685925" y="3133725"/>
            <a:ext cx="57518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400" dirty="0" smtClean="0">
                <a:solidFill>
                  <a:srgbClr val="FF0000"/>
                </a:solidFill>
              </a:rPr>
              <a:t>UPDATE NEEDED</a:t>
            </a:r>
            <a:endParaRPr lang="fr-FR" sz="5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4083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2070000"/>
              </a:tblGrid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Date</a:t>
                      </a:r>
                      <a:r>
                        <a:rPr lang="fr-FR" sz="1600" b="0" i="0" u="sng" baseline="0" noProof="0" smtClean="0"/>
                        <a:t> :</a:t>
                      </a:r>
                      <a:r>
                        <a:rPr lang="fr-FR" sz="1600" b="0" i="0" baseline="0" noProof="0" smtClean="0"/>
                        <a:t>   </a:t>
                      </a:r>
                      <a:endParaRPr lang="fr-FR" sz="1600" b="0" i="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Name :</a:t>
                      </a:r>
                      <a:r>
                        <a:rPr lang="fr-FR" sz="1600" b="0" i="0" noProof="0" smtClean="0"/>
                        <a:t>   </a:t>
                      </a:r>
                      <a:endParaRPr lang="fr-FR" sz="1600" b="0" i="0" noProof="0"/>
                    </a:p>
                  </a:txBody>
                  <a:tcPr/>
                </a:tc>
              </a:tr>
              <a:tr h="1080000">
                <a:tc gridSpan="3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44000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endParaRPr kumimoji="0" lang="fr-FR" sz="1600" u="sng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360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/>
                      <a:endParaRPr kumimoji="0" lang="fr-FR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steps 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GB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 </a:t>
            </a:r>
            <a:endParaRPr lang="fr-FR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 </a:t>
            </a:r>
            <a:endParaRPr lang="fr-FR" dirty="0"/>
          </a:p>
        </p:txBody>
      </p:sp>
      <p:grpSp>
        <p:nvGrpSpPr>
          <p:cNvPr id="7" name="Espace réservé du contenu 6"/>
          <p:cNvGrpSpPr>
            <a:grpSpLocks noGrp="1"/>
          </p:cNvGrpSpPr>
          <p:nvPr>
            <p:ph idx="1"/>
          </p:nvPr>
        </p:nvGrpSpPr>
        <p:grpSpPr>
          <a:xfrm>
            <a:off x="458702" y="1230222"/>
            <a:ext cx="8229600" cy="4525962"/>
            <a:chOff x="679939" y="1349380"/>
            <a:chExt cx="7876443" cy="4945059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454162"/>
              <a:ext cx="3078491" cy="46166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16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8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 </a:t>
            </a:r>
            <a:endParaRPr lang="fr-FR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40472" y="1546227"/>
          <a:ext cx="8246328" cy="4283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41365">
                <a:tc rowSpan="9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Programme Management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Development Planning </a:t>
                      </a:r>
                      <a:endParaRPr lang="fr-FR" sz="1100" kern="1200" noProof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66876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/>
                        <a:t>Transition </a:t>
                      </a:r>
                      <a:r>
                        <a:rPr lang="fr-FR" sz="1100" kern="1200" noProof="0" dirty="0" err="1" smtClean="0"/>
                        <a:t>from</a:t>
                      </a:r>
                      <a:r>
                        <a:rPr lang="fr-FR" sz="1100" kern="1200" noProof="0" dirty="0" smtClean="0"/>
                        <a:t> </a:t>
                      </a:r>
                      <a:r>
                        <a:rPr lang="fr-FR" sz="1100" kern="1200" noProof="0" dirty="0" err="1" smtClean="0"/>
                        <a:t>development</a:t>
                      </a:r>
                      <a:r>
                        <a:rPr lang="fr-FR" sz="1100" kern="1200" noProof="0" dirty="0" smtClean="0"/>
                        <a:t> to serial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5187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Serial planning : </a:t>
                      </a:r>
                      <a:r>
                        <a:rPr lang="fr-FR" sz="900" noProof="0" dirty="0" err="1" smtClean="0"/>
                        <a:t>Process</a:t>
                      </a:r>
                      <a:r>
                        <a:rPr lang="fr-FR" sz="900" noProof="0" dirty="0" smtClean="0"/>
                        <a:t>/</a:t>
                      </a:r>
                      <a:r>
                        <a:rPr lang="fr-FR" sz="900" noProof="0" dirty="0" err="1" smtClean="0"/>
                        <a:t>methods</a:t>
                      </a:r>
                      <a:r>
                        <a:rPr lang="fr-FR" sz="900" noProof="0" dirty="0" smtClean="0"/>
                        <a:t> &amp; </a:t>
                      </a:r>
                      <a:r>
                        <a:rPr lang="fr-FR" sz="900" noProof="0" dirty="0" err="1" smtClean="0"/>
                        <a:t>tools</a:t>
                      </a:r>
                      <a:r>
                        <a:rPr lang="fr-FR" sz="90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161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 smtClean="0"/>
                        <a:t>Serial planning : </a:t>
                      </a:r>
                      <a:r>
                        <a:rPr lang="fr-FR" sz="900" baseline="0" noProof="0" smtClean="0"/>
                        <a:t>Series Production Programme in APC and SAP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smtClean="0"/>
                        <a:t>Risk: Global level of Programme Risks</a:t>
                      </a:r>
                      <a:endParaRPr lang="fr-FR" sz="1100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6545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: </a:t>
                      </a:r>
                      <a:r>
                        <a:rPr lang="fr-FR" sz="1100" noProof="0" dirty="0" err="1" smtClean="0"/>
                        <a:t>Risk</a:t>
                      </a:r>
                      <a:r>
                        <a:rPr lang="fr-FR" sz="1100" noProof="0" dirty="0" smtClean="0"/>
                        <a:t> Management </a:t>
                      </a:r>
                      <a:r>
                        <a:rPr lang="fr-FR" sz="1100" noProof="0" dirty="0" err="1" smtClean="0"/>
                        <a:t>Robustness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21704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People</a:t>
                      </a:r>
                      <a:r>
                        <a:rPr lang="fr-FR" sz="1100" baseline="0" noProof="0" dirty="0" smtClean="0"/>
                        <a:t> </a:t>
                      </a:r>
                      <a:r>
                        <a:rPr lang="fr-FR" sz="1100" baseline="0" noProof="0" dirty="0" err="1" smtClean="0"/>
                        <a:t>Headcount</a:t>
                      </a:r>
                      <a:endParaRPr lang="fr-FR" sz="1100" noProof="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kern="1200" noProof="0" smtClean="0"/>
                        <a:t>Information System ERP</a:t>
                      </a:r>
                      <a:endParaRPr lang="fr-FR" sz="11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noProof="0"/>
                    </a:p>
                  </a:txBody>
                  <a:tcPr marL="36000" marR="36000" marT="10800" marB="10800"/>
                </a:tc>
              </a:tr>
              <a:tr h="384730">
                <a:tc vMerge="1">
                  <a:txBody>
                    <a:bodyPr/>
                    <a:lstStyle/>
                    <a:p>
                      <a:pPr algn="ctr"/>
                      <a:endParaRPr lang="en-US" sz="11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smtClean="0"/>
                        <a:t>Information System PLM</a:t>
                      </a:r>
                      <a:endParaRPr lang="fr-FR" noProof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Rotonde">
  <a:themeElements>
    <a:clrScheme name="Rotond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Rotond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Rotond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86</TotalTime>
  <Words>302</Words>
  <Application>Microsoft Office PowerPoint</Application>
  <PresentationFormat>Affichage à l'écran (4:3)</PresentationFormat>
  <Paragraphs>99</Paragraphs>
  <Slides>8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9" baseType="lpstr">
      <vt:lpstr>Rotonde</vt:lpstr>
      <vt:lpstr>Détection d’anomalie dans des données d’essais.</vt:lpstr>
      <vt:lpstr>Sommaire </vt:lpstr>
      <vt:lpstr>Organisation du Travail </vt:lpstr>
      <vt:lpstr>Organisation du travail </vt:lpstr>
      <vt:lpstr>Planning </vt:lpstr>
      <vt:lpstr>Avancement </vt:lpstr>
      <vt:lpstr>Avancement </vt:lpstr>
      <vt:lpstr>Avancement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e</dc:creator>
  <cp:lastModifiedBy>Rémy</cp:lastModifiedBy>
  <cp:revision>13</cp:revision>
  <dcterms:created xsi:type="dcterms:W3CDTF">2016-12-07T10:49:09Z</dcterms:created>
  <dcterms:modified xsi:type="dcterms:W3CDTF">2017-01-20T13:43:52Z</dcterms:modified>
</cp:coreProperties>
</file>